
<file path=[Content_Types].xml><?xml version="1.0" encoding="utf-8"?>
<Types xmlns="http://schemas.openxmlformats.org/package/2006/content-types">
  <Default Extension="mp3" ContentType="audio/mpeg"/>
  <Default Extension="png" ContentType="image/png"/>
  <Default Extension="jpeg" ContentType="image/jpeg"/>
  <Default Extension="rels" ContentType="application/vnd.openxmlformats-package.relationships+xml"/>
  <Default Extension="xml" ContentType="application/xml"/>
  <Default Extension="xlsx" ContentType="application/haansoftxlsx"/>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831" r:id="rId2"/>
    <p:sldId id="836" r:id="rId3"/>
    <p:sldId id="744" r:id="rId4"/>
    <p:sldId id="862" r:id="rId5"/>
    <p:sldId id="863" r:id="rId6"/>
    <p:sldId id="848" r:id="rId7"/>
    <p:sldId id="850" r:id="rId8"/>
    <p:sldId id="851" r:id="rId9"/>
    <p:sldId id="786" r:id="rId10"/>
    <p:sldId id="841" r:id="rId11"/>
    <p:sldId id="842" r:id="rId12"/>
    <p:sldId id="844" r:id="rId13"/>
    <p:sldId id="843" r:id="rId14"/>
    <p:sldId id="865" r:id="rId15"/>
    <p:sldId id="845" r:id="rId16"/>
    <p:sldId id="846" r:id="rId17"/>
    <p:sldId id="798" r:id="rId18"/>
    <p:sldId id="852" r:id="rId19"/>
    <p:sldId id="853" r:id="rId20"/>
    <p:sldId id="867" r:id="rId21"/>
    <p:sldId id="854" r:id="rId22"/>
    <p:sldId id="855" r:id="rId23"/>
    <p:sldId id="856" r:id="rId24"/>
    <p:sldId id="857" r:id="rId25"/>
    <p:sldId id="830" r:id="rId26"/>
    <p:sldId id="823" r:id="rId27"/>
    <p:sldId id="813" r:id="rId28"/>
    <p:sldId id="868" r:id="rId29"/>
    <p:sldId id="820" r:id="rId30"/>
    <p:sldId id="872" r:id="rId31"/>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3A4"/>
    <a:srgbClr val="769B37"/>
    <a:srgbClr val="829662"/>
    <a:srgbClr val="BA421E"/>
    <a:srgbClr val="0A0106"/>
    <a:srgbClr val="D4631E"/>
    <a:srgbClr val="E1732F"/>
    <a:srgbClr val="31302E"/>
    <a:srgbClr val="DB53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53" autoAdjust="0"/>
    <p:restoredTop sz="91579" autoAdjust="0"/>
  </p:normalViewPr>
  <p:slideViewPr>
    <p:cSldViewPr>
      <p:cViewPr varScale="1">
        <p:scale>
          <a:sx n="106" d="100"/>
          <a:sy n="106" d="100"/>
        </p:scale>
        <p:origin x="1042" y="62"/>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spPr>
            <a:solidFill>
              <a:schemeClr val="bg1"/>
            </a:solidFill>
          </c:spPr>
          <c:invertIfNegative val="0"/>
          <c:dPt>
            <c:idx val="0"/>
            <c:invertIfNegative val="0"/>
            <c:bubble3D val="0"/>
            <c:spPr>
              <a:solidFill>
                <a:schemeClr val="tx1"/>
              </a:solidFill>
            </c:spPr>
            <c:extLst>
              <c:ext xmlns:c16="http://schemas.microsoft.com/office/drawing/2014/chart" uri="{C3380CC4-5D6E-409C-BE32-E72D297353CC}">
                <c16:uniqueId val="{00000001-F27A-4A38-A815-E5B54308270D}"/>
              </c:ext>
            </c:extLst>
          </c:dPt>
          <c:dPt>
            <c:idx val="1"/>
            <c:invertIfNegative val="0"/>
            <c:bubble3D val="0"/>
            <c:extLst>
              <c:ext xmlns:c16="http://schemas.microsoft.com/office/drawing/2014/chart" uri="{C3380CC4-5D6E-409C-BE32-E72D297353CC}">
                <c16:uniqueId val="{00000002-F27A-4A38-A815-E5B54308270D}"/>
              </c:ext>
            </c:extLst>
          </c:dPt>
          <c:dLbls>
            <c:dLbl>
              <c:idx val="1"/>
              <c:layout/>
              <c:tx>
                <c:rich>
                  <a:bodyPr/>
                  <a:lstStyle/>
                  <a:p>
                    <a:fld id="{101865FA-7C8E-43D7-BC85-6B96B6B6F7D4}" type="VALUE">
                      <a:rPr lang="en-US" altLang="zh-CN">
                        <a:solidFill>
                          <a:schemeClr val="accent2"/>
                        </a:solidFill>
                      </a:rPr>
                      <a:pPr/>
                      <a:t>[값]</a:t>
                    </a:fld>
                    <a:endParaRPr lang="ko-KR" altLang="en-US"/>
                  </a:p>
                </c:rich>
              </c:tx>
              <c:dLblPos val="inEnd"/>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2-F27A-4A38-A815-E5B54308270D}"/>
                </c:ext>
              </c:extLst>
            </c:dLbl>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标题 01</c:v>
                </c:pt>
                <c:pt idx="1">
                  <c:v>标题 02</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3-F27A-4A38-A815-E5B54308270D}"/>
            </c:ext>
          </c:extLst>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extLst>
              <c:ext xmlns:c16="http://schemas.microsoft.com/office/drawing/2014/chart" uri="{C3380CC4-5D6E-409C-BE32-E72D297353CC}">
                <c16:uniqueId val="{00000005-F27A-4A38-A815-E5B54308270D}"/>
              </c:ext>
            </c:extLst>
          </c:dPt>
          <c:dPt>
            <c:idx val="1"/>
            <c:invertIfNegative val="0"/>
            <c:bubble3D val="0"/>
            <c:spPr>
              <a:solidFill>
                <a:srgbClr val="D9D9D9"/>
              </a:solidFill>
            </c:spPr>
            <c:extLst>
              <c:ext xmlns:c16="http://schemas.microsoft.com/office/drawing/2014/chart" uri="{C3380CC4-5D6E-409C-BE32-E72D297353CC}">
                <c16:uniqueId val="{00000007-F27A-4A38-A815-E5B54308270D}"/>
              </c:ext>
            </c:extLst>
          </c:dPt>
          <c:cat>
            <c:strRef>
              <c:f>Sheet1!$A$2:$A$3</c:f>
              <c:strCache>
                <c:ptCount val="2"/>
                <c:pt idx="0">
                  <c:v>标题 01</c:v>
                </c:pt>
                <c:pt idx="1">
                  <c:v>标题 02</c:v>
                </c:pt>
              </c:strCache>
            </c:strRef>
          </c:cat>
          <c:val>
            <c:numRef>
              <c:f>Sheet1!$C$2:$C$3</c:f>
              <c:numCache>
                <c:formatCode>General</c:formatCode>
                <c:ptCount val="2"/>
                <c:pt idx="0">
                  <c:v>60</c:v>
                </c:pt>
                <c:pt idx="1">
                  <c:v>40</c:v>
                </c:pt>
              </c:numCache>
            </c:numRef>
          </c:val>
          <c:extLst>
            <c:ext xmlns:c16="http://schemas.microsoft.com/office/drawing/2014/chart" uri="{C3380CC4-5D6E-409C-BE32-E72D297353CC}">
              <c16:uniqueId val="{00000008-F27A-4A38-A815-E5B54308270D}"/>
            </c:ext>
          </c:extLst>
        </c:ser>
        <c:dLbls>
          <c:showLegendKey val="0"/>
          <c:showVal val="0"/>
          <c:showCatName val="0"/>
          <c:showSerName val="0"/>
          <c:showPercent val="0"/>
          <c:showBubbleSize val="0"/>
        </c:dLbls>
        <c:gapWidth val="62"/>
        <c:overlap val="100"/>
        <c:axId val="939094096"/>
        <c:axId val="939087824"/>
      </c:barChart>
      <c:catAx>
        <c:axId val="939094096"/>
        <c:scaling>
          <c:orientation val="minMax"/>
        </c:scaling>
        <c:delete val="0"/>
        <c:axPos val="l"/>
        <c:numFmt formatCode="General" sourceLinked="0"/>
        <c:majorTickMark val="in"/>
        <c:minorTickMark val="none"/>
        <c:tickLblPos val="nextTo"/>
        <c:txPr>
          <a:bodyPr/>
          <a:lstStyle/>
          <a:p>
            <a:pPr>
              <a:defRPr sz="1000" b="1">
                <a:solidFill>
                  <a:schemeClr val="accent6"/>
                </a:solidFill>
              </a:defRPr>
            </a:pPr>
            <a:endParaRPr lang="ko-KR"/>
          </a:p>
        </c:txPr>
        <c:crossAx val="939087824"/>
        <c:crosses val="autoZero"/>
        <c:auto val="1"/>
        <c:lblAlgn val="ctr"/>
        <c:lblOffset val="100"/>
        <c:noMultiLvlLbl val="0"/>
      </c:catAx>
      <c:valAx>
        <c:axId val="939087824"/>
        <c:scaling>
          <c:orientation val="minMax"/>
        </c:scaling>
        <c:delete val="1"/>
        <c:axPos val="b"/>
        <c:majorGridlines>
          <c:spPr>
            <a:ln>
              <a:noFill/>
            </a:ln>
          </c:spPr>
        </c:majorGridlines>
        <c:numFmt formatCode="0%" sourceLinked="1"/>
        <c:majorTickMark val="out"/>
        <c:minorTickMark val="none"/>
        <c:tickLblPos val="nextTo"/>
        <c:crossAx val="939094096"/>
        <c:crosses val="autoZero"/>
        <c:crossBetween val="between"/>
      </c:valAx>
    </c:plotArea>
    <c:plotVisOnly val="1"/>
    <c:dispBlanksAs val="gap"/>
    <c:showDLblsOverMax val="0"/>
  </c:chart>
  <c:txPr>
    <a:bodyPr/>
    <a:lstStyle/>
    <a:p>
      <a:pPr>
        <a:defRPr sz="1800">
          <a:latin typeface="FZSJ-YANGGNH" panose="02010600010101010101" pitchFamily="2" charset="-122"/>
          <a:ea typeface="FZSJ-YANGGNH" panose="02010600010101010101" pitchFamily="2" charset="-122"/>
        </a:defRPr>
      </a:pPr>
      <a:endParaRPr lang="ko-K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7C81-4AF3-8371-2DA6259F8C46}"/>
              </c:ext>
            </c:extLst>
          </c:dPt>
          <c:dPt>
            <c:idx val="1"/>
            <c:invertIfNegative val="0"/>
            <c:bubble3D val="0"/>
            <c:spPr>
              <a:solidFill>
                <a:schemeClr val="bg2"/>
              </a:solidFill>
            </c:spPr>
            <c:extLst>
              <c:ext xmlns:c16="http://schemas.microsoft.com/office/drawing/2014/chart" uri="{C3380CC4-5D6E-409C-BE32-E72D297353CC}">
                <c16:uniqueId val="{00000003-7C81-4AF3-8371-2DA6259F8C46}"/>
              </c:ext>
            </c:extLst>
          </c:dPt>
          <c:dLbls>
            <c:spPr>
              <a:noFill/>
              <a:ln>
                <a:noFill/>
              </a:ln>
              <a:effectLst/>
            </c:spPr>
            <c:txPr>
              <a:bodyPr/>
              <a:lstStyle/>
              <a:p>
                <a:pPr>
                  <a:defRPr sz="1400" b="1">
                    <a:solidFill>
                      <a:schemeClr val="accent2"/>
                    </a:solidFill>
                    <a:latin typeface="Tahoma" panose="020B0604030504040204" pitchFamily="34" charset="0"/>
                    <a:ea typeface="Tahoma" panose="020B0604030504040204" pitchFamily="34" charset="0"/>
                    <a:cs typeface="Tahoma" panose="020B0604030504040204" pitchFamily="34" charset="0"/>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标题 01</c:v>
                </c:pt>
                <c:pt idx="1">
                  <c:v>标题 02</c:v>
                </c:pt>
              </c:strCache>
            </c:strRef>
          </c:cat>
          <c:val>
            <c:numRef>
              <c:f>Sheet1!$B$2:$B$3</c:f>
              <c:numCache>
                <c:formatCode>General</c:formatCode>
                <c:ptCount val="2"/>
                <c:pt idx="0">
                  <c:v>80</c:v>
                </c:pt>
                <c:pt idx="1">
                  <c:v>35</c:v>
                </c:pt>
              </c:numCache>
            </c:numRef>
          </c:val>
          <c:extLst>
            <c:ext xmlns:c16="http://schemas.microsoft.com/office/drawing/2014/chart" uri="{C3380CC4-5D6E-409C-BE32-E72D297353CC}">
              <c16:uniqueId val="{00000004-7C81-4AF3-8371-2DA6259F8C46}"/>
            </c:ext>
          </c:extLst>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extLst>
              <c:ext xmlns:c16="http://schemas.microsoft.com/office/drawing/2014/chart" uri="{C3380CC4-5D6E-409C-BE32-E72D297353CC}">
                <c16:uniqueId val="{00000006-7C81-4AF3-8371-2DA6259F8C46}"/>
              </c:ext>
            </c:extLst>
          </c:dPt>
          <c:dPt>
            <c:idx val="1"/>
            <c:invertIfNegative val="0"/>
            <c:bubble3D val="0"/>
            <c:spPr>
              <a:solidFill>
                <a:srgbClr val="D9D9D9"/>
              </a:solidFill>
            </c:spPr>
            <c:extLst>
              <c:ext xmlns:c16="http://schemas.microsoft.com/office/drawing/2014/chart" uri="{C3380CC4-5D6E-409C-BE32-E72D297353CC}">
                <c16:uniqueId val="{00000008-7C81-4AF3-8371-2DA6259F8C46}"/>
              </c:ext>
            </c:extLst>
          </c:dPt>
          <c:cat>
            <c:strRef>
              <c:f>Sheet1!$A$2:$A$3</c:f>
              <c:strCache>
                <c:ptCount val="2"/>
                <c:pt idx="0">
                  <c:v>标题 01</c:v>
                </c:pt>
                <c:pt idx="1">
                  <c:v>标题 02</c:v>
                </c:pt>
              </c:strCache>
            </c:strRef>
          </c:cat>
          <c:val>
            <c:numRef>
              <c:f>Sheet1!$C$2:$C$3</c:f>
              <c:numCache>
                <c:formatCode>General</c:formatCode>
                <c:ptCount val="2"/>
                <c:pt idx="0">
                  <c:v>20</c:v>
                </c:pt>
                <c:pt idx="1">
                  <c:v>65</c:v>
                </c:pt>
              </c:numCache>
            </c:numRef>
          </c:val>
          <c:extLst>
            <c:ext xmlns:c16="http://schemas.microsoft.com/office/drawing/2014/chart" uri="{C3380CC4-5D6E-409C-BE32-E72D297353CC}">
              <c16:uniqueId val="{00000009-7C81-4AF3-8371-2DA6259F8C46}"/>
            </c:ext>
          </c:extLst>
        </c:ser>
        <c:dLbls>
          <c:showLegendKey val="0"/>
          <c:showVal val="0"/>
          <c:showCatName val="0"/>
          <c:showSerName val="0"/>
          <c:showPercent val="0"/>
          <c:showBubbleSize val="0"/>
        </c:dLbls>
        <c:gapWidth val="62"/>
        <c:overlap val="100"/>
        <c:axId val="939084296"/>
        <c:axId val="939088608"/>
      </c:barChart>
      <c:catAx>
        <c:axId val="93908429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FZSJ-YANGGNH" panose="02010600010101010101" pitchFamily="2" charset="-122"/>
                <a:ea typeface="FZSJ-YANGGNH" panose="02010600010101010101" pitchFamily="2" charset="-122"/>
                <a:cs typeface="Tahoma" panose="020B0604030504040204" pitchFamily="34" charset="0"/>
              </a:defRPr>
            </a:pPr>
            <a:endParaRPr lang="ko-KR"/>
          </a:p>
        </c:txPr>
        <c:crossAx val="939088608"/>
        <c:crosses val="autoZero"/>
        <c:auto val="1"/>
        <c:lblAlgn val="ctr"/>
        <c:lblOffset val="100"/>
        <c:noMultiLvlLbl val="0"/>
      </c:catAx>
      <c:valAx>
        <c:axId val="939088608"/>
        <c:scaling>
          <c:orientation val="minMax"/>
        </c:scaling>
        <c:delete val="1"/>
        <c:axPos val="b"/>
        <c:majorGridlines>
          <c:spPr>
            <a:ln>
              <a:noFill/>
            </a:ln>
          </c:spPr>
        </c:majorGridlines>
        <c:numFmt formatCode="0%" sourceLinked="1"/>
        <c:majorTickMark val="out"/>
        <c:minorTickMark val="none"/>
        <c:tickLblPos val="nextTo"/>
        <c:crossAx val="939084296"/>
        <c:crosses val="autoZero"/>
        <c:crossBetween val="between"/>
      </c:valAx>
    </c:plotArea>
    <c:plotVisOnly val="1"/>
    <c:dispBlanksAs val="gap"/>
    <c:showDLblsOverMax val="0"/>
  </c:chart>
  <c:txPr>
    <a:bodyPr/>
    <a:lstStyle/>
    <a:p>
      <a:pPr>
        <a:defRPr sz="1800"/>
      </a:pPr>
      <a:endParaRPr lang="ko-KR"/>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21/5/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xmlns:p14="http://schemas.microsoft.com/office/powerpoint/2010/main"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4232149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301255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75035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93706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190135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54894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5799505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462110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913104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908633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2638711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25682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3035488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1616702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1586867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1952131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2522662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582275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2400782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3964412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1977169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2789021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11112653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201932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784285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062892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3785598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3775646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0671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48511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46917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657523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08827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2918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916379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289229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817836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824026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49632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596600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5/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180307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ext uri="{BB962C8B-B14F-4D97-AF65-F5344CB8AC3E}">
        <p14:creationId xmlns:p14="http://schemas.microsoft.com/office/powerpoint/2010/main"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8" name="图片 7"/>
          <p:cNvPicPr>
            <a:picLocks noChangeAspect="1"/>
          </p:cNvPicPr>
          <p:nvPr/>
        </p:nvPicPr>
        <p:blipFill rotWithShape="1">
          <a:blip r:embed="rId6">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pic>
        <p:nvPicPr>
          <p:cNvPr id="9" name="守护甜心 - 唯美纯音乐">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974945" y="7185697"/>
            <a:ext cx="609600" cy="609600"/>
          </a:xfrm>
          <a:prstGeom prst="rect">
            <a:avLst/>
          </a:prstGeom>
        </p:spPr>
      </p:pic>
      <p:sp>
        <p:nvSpPr>
          <p:cNvPr id="11" name="文本框 6"/>
          <p:cNvSpPr txBox="1"/>
          <p:nvPr/>
        </p:nvSpPr>
        <p:spPr>
          <a:xfrm>
            <a:off x="3419872" y="1419622"/>
            <a:ext cx="3960440" cy="646331"/>
          </a:xfrm>
          <a:prstGeom prst="rect">
            <a:avLst/>
          </a:prstGeom>
          <a:noFill/>
        </p:spPr>
        <p:txBody>
          <a:bodyPr wrap="square" rtlCol="0">
            <a:spAutoFit/>
          </a:bodyPr>
          <a:lstStyle/>
          <a:p>
            <a:r>
              <a:rPr lang="ko-KR" altLang="en-US" sz="3600" b="1" dirty="0" smtClean="0">
                <a:solidFill>
                  <a:srgbClr val="829662"/>
                </a:solidFill>
                <a:latin typeface="맑은 고딕" panose="020B0503020000020004" pitchFamily="50" charset="-127"/>
                <a:ea typeface="맑은 고딕" panose="020B0503020000020004" pitchFamily="50" charset="-127"/>
              </a:rPr>
              <a:t>태산이 높다 하되</a:t>
            </a:r>
            <a:endParaRPr lang="zh-CN" altLang="en-US" sz="3600" b="1" dirty="0">
              <a:solidFill>
                <a:srgbClr val="829662"/>
              </a:solidFill>
              <a:latin typeface="맑은 고딕" panose="020B0503020000020004" pitchFamily="50" charset="-127"/>
              <a:ea typeface="맑은 고딕" panose="020B0503020000020004" pitchFamily="50" charset="-127"/>
            </a:endParaRPr>
          </a:p>
        </p:txBody>
      </p:sp>
      <p:sp>
        <p:nvSpPr>
          <p:cNvPr id="12" name="文本框 6"/>
          <p:cNvSpPr txBox="1"/>
          <p:nvPr/>
        </p:nvSpPr>
        <p:spPr>
          <a:xfrm>
            <a:off x="4716016" y="2928104"/>
            <a:ext cx="2808312" cy="523220"/>
          </a:xfrm>
          <a:prstGeom prst="rect">
            <a:avLst/>
          </a:prstGeom>
          <a:noFill/>
        </p:spPr>
        <p:txBody>
          <a:bodyPr wrap="square" rtlCol="0">
            <a:spAutoFit/>
          </a:bodyPr>
          <a:lstStyle/>
          <a:p>
            <a:r>
              <a:rPr lang="ko-KR" altLang="en-US" sz="2800" b="1" dirty="0" smtClean="0">
                <a:solidFill>
                  <a:srgbClr val="829662"/>
                </a:solidFill>
                <a:latin typeface="맑은 고딕" panose="020B0503020000020004" pitchFamily="50" charset="-127"/>
                <a:ea typeface="맑은 고딕" panose="020B0503020000020004" pitchFamily="50" charset="-127"/>
              </a:rPr>
              <a:t>팀  명  </a:t>
            </a:r>
            <a:r>
              <a:rPr lang="en-US" altLang="ko-KR" sz="2800" b="1" dirty="0" smtClean="0">
                <a:solidFill>
                  <a:srgbClr val="829662"/>
                </a:solidFill>
                <a:latin typeface="맑은 고딕" panose="020B0503020000020004" pitchFamily="50" charset="-127"/>
                <a:ea typeface="맑은 고딕" panose="020B0503020000020004" pitchFamily="50" charset="-127"/>
              </a:rPr>
              <a:t>:  </a:t>
            </a:r>
            <a:r>
              <a:rPr lang="ko-KR" altLang="en-US" sz="2800" b="1" dirty="0" smtClean="0">
                <a:solidFill>
                  <a:srgbClr val="829662"/>
                </a:solidFill>
                <a:latin typeface="맑은 고딕" panose="020B0503020000020004" pitchFamily="50" charset="-127"/>
                <a:ea typeface="맑은 고딕" panose="020B0503020000020004" pitchFamily="50" charset="-127"/>
              </a:rPr>
              <a:t>태  산</a:t>
            </a:r>
            <a:endParaRPr lang="zh-CN" altLang="en-US" sz="2800" b="1" dirty="0">
              <a:solidFill>
                <a:srgbClr val="829662"/>
              </a:solidFill>
              <a:latin typeface="맑은 고딕" panose="020B0503020000020004" pitchFamily="50" charset="-127"/>
              <a:ea typeface="맑은 고딕" panose="020B0503020000020004" pitchFamily="50" charset="-127"/>
            </a:endParaRPr>
          </a:p>
        </p:txBody>
      </p:sp>
      <p:sp>
        <p:nvSpPr>
          <p:cNvPr id="13" name="文本框 6"/>
          <p:cNvSpPr txBox="1"/>
          <p:nvPr/>
        </p:nvSpPr>
        <p:spPr>
          <a:xfrm>
            <a:off x="2606352" y="34251"/>
            <a:ext cx="1533600" cy="369332"/>
          </a:xfrm>
          <a:prstGeom prst="rect">
            <a:avLst/>
          </a:prstGeom>
          <a:noFill/>
        </p:spPr>
        <p:txBody>
          <a:bodyPr wrap="square" rtlCol="0">
            <a:spAutoFit/>
          </a:bodyPr>
          <a:lstStyle/>
          <a:p>
            <a:r>
              <a:rPr lang="en-US" altLang="ko-KR" b="1" dirty="0" smtClean="0">
                <a:solidFill>
                  <a:srgbClr val="829662"/>
                </a:solidFill>
                <a:latin typeface="맑은 고딕" panose="020B0503020000020004" pitchFamily="50" charset="-127"/>
                <a:ea typeface="맑은 고딕" panose="020B0503020000020004" pitchFamily="50" charset="-127"/>
              </a:rPr>
              <a:t>2nd Project</a:t>
            </a:r>
            <a:endParaRPr lang="zh-CN" altLang="en-US" b="1" dirty="0">
              <a:solidFill>
                <a:srgbClr val="829662"/>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315180690"/>
      </p:ext>
    </p:extLst>
  </p:cSld>
  <p:clrMapOvr>
    <a:masterClrMapping/>
  </p:clrMapOvr>
  <mc:AlternateContent xmlns:mc="http://schemas.openxmlformats.org/markup-compatibility/2006" xmlns:p14="http://schemas.microsoft.com/office/powerpoint/2010/main">
    <mc:Choice Requires="p14">
      <p:transition spd="slow" p14:dur="4400" advClick="0" advTm="7000">
        <p14:honeycomb/>
      </p:transition>
    </mc:Choice>
    <mc:Fallback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31" repeatCount="indefinite" fill="remove" display="0">
                  <p:stCondLst>
                    <p:cond delay="indefinite"/>
                  </p:stCondLst>
                  <p:endCondLst>
                    <p:cond evt="onStopAudio" delay="0">
                      <p:tgtEl>
                        <p:sldTgt/>
                      </p:tgtEl>
                    </p:cond>
                  </p:endCondLst>
                </p:cTn>
                <p:tgtEl>
                  <p:spTgt spid="9"/>
                </p:tgtEl>
              </p:cMediaNode>
            </p:audio>
          </p:childTnLst>
        </p:cTn>
      </p:par>
    </p:tnLst>
    <p:bldLst>
      <p:bldP spid="11" grpId="0"/>
      <p:bldP spid="12" grpId="0"/>
      <p:bldP spid="1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105"/>
          <p:cNvSpPr>
            <a:spLocks/>
          </p:cNvSpPr>
          <p:nvPr/>
        </p:nvSpPr>
        <p:spPr bwMode="auto">
          <a:xfrm>
            <a:off x="4570593" y="3248188"/>
            <a:ext cx="863713" cy="937996"/>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9" name="Freeform 107"/>
          <p:cNvSpPr>
            <a:spLocks/>
          </p:cNvSpPr>
          <p:nvPr/>
        </p:nvSpPr>
        <p:spPr bwMode="auto">
          <a:xfrm>
            <a:off x="3563987" y="3248188"/>
            <a:ext cx="866888" cy="937996"/>
          </a:xfrm>
          <a:custGeom>
            <a:avLst/>
            <a:gdLst>
              <a:gd name="T0" fmla="*/ 878 w 878"/>
              <a:gd name="T1" fmla="*/ 30 h 952"/>
              <a:gd name="T2" fmla="*/ 456 w 878"/>
              <a:gd name="T3" fmla="*/ 252 h 952"/>
              <a:gd name="T4" fmla="*/ 498 w 878"/>
              <a:gd name="T5" fmla="*/ 0 h 952"/>
              <a:gd name="T6" fmla="*/ 164 w 878"/>
              <a:gd name="T7" fmla="*/ 0 h 952"/>
              <a:gd name="T8" fmla="*/ 0 w 878"/>
              <a:gd name="T9" fmla="*/ 952 h 952"/>
              <a:gd name="T10" fmla="*/ 878 w 878"/>
              <a:gd name="T11" fmla="*/ 492 h 952"/>
              <a:gd name="T12" fmla="*/ 878 w 878"/>
              <a:gd name="T13" fmla="*/ 30 h 952"/>
            </a:gdLst>
            <a:ahLst/>
            <a:cxnLst>
              <a:cxn ang="0">
                <a:pos x="T0" y="T1"/>
              </a:cxn>
              <a:cxn ang="0">
                <a:pos x="T2" y="T3"/>
              </a:cxn>
              <a:cxn ang="0">
                <a:pos x="T4" y="T5"/>
              </a:cxn>
              <a:cxn ang="0">
                <a:pos x="T6" y="T7"/>
              </a:cxn>
              <a:cxn ang="0">
                <a:pos x="T8" y="T9"/>
              </a:cxn>
              <a:cxn ang="0">
                <a:pos x="T10" y="T11"/>
              </a:cxn>
              <a:cxn ang="0">
                <a:pos x="T12" y="T13"/>
              </a:cxn>
            </a:cxnLst>
            <a:rect l="0" t="0" r="r" b="b"/>
            <a:pathLst>
              <a:path w="878" h="952">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defRPr/>
            </a:pPr>
            <a:endParaRPr lang="zh-CN" altLang="en-US" sz="1800">
              <a:solidFill>
                <a:schemeClr val="accent1"/>
              </a:solidFill>
              <a:effectLst>
                <a:outerShdw blurRad="60007" dist="310007" dir="7680000" sy="30000" kx="1300200" algn="ctr" rotWithShape="0">
                  <a:prstClr val="black">
                    <a:alpha val="32000"/>
                  </a:prstClr>
                </a:outerShdw>
              </a:effectLst>
              <a:latin typeface="FZSJ-YANGGNH" panose="02010600010101010101" pitchFamily="2" charset="-122"/>
              <a:ea typeface="FZSJ-YANGGNH" panose="02010600010101010101" pitchFamily="2" charset="-122"/>
            </a:endParaRPr>
          </a:p>
        </p:txBody>
      </p:sp>
      <p:grpSp>
        <p:nvGrpSpPr>
          <p:cNvPr id="10" name="组合 9"/>
          <p:cNvGrpSpPr/>
          <p:nvPr/>
        </p:nvGrpSpPr>
        <p:grpSpPr>
          <a:xfrm>
            <a:off x="2987648" y="1311886"/>
            <a:ext cx="3022994" cy="2874298"/>
            <a:chOff x="3748193" y="2000673"/>
            <a:chExt cx="4030134" cy="3833285"/>
          </a:xfrm>
          <a:solidFill>
            <a:schemeClr val="bg1"/>
          </a:solidFill>
        </p:grpSpPr>
        <p:sp>
          <p:nvSpPr>
            <p:cNvPr id="11" name="Freeform 104"/>
            <p:cNvSpPr>
              <a:spLocks/>
            </p:cNvSpPr>
            <p:nvPr/>
          </p:nvSpPr>
          <p:spPr bwMode="auto">
            <a:xfrm>
              <a:off x="5858511" y="4583007"/>
              <a:ext cx="1151467" cy="1250951"/>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2" name="Freeform 106"/>
            <p:cNvSpPr>
              <a:spLocks/>
            </p:cNvSpPr>
            <p:nvPr/>
          </p:nvSpPr>
          <p:spPr bwMode="auto">
            <a:xfrm>
              <a:off x="4516545" y="4583007"/>
              <a:ext cx="1155700" cy="1250951"/>
            </a:xfrm>
            <a:custGeom>
              <a:avLst/>
              <a:gdLst>
                <a:gd name="T0" fmla="*/ 2147483647 w 878"/>
                <a:gd name="T1" fmla="*/ 2147483647 h 952"/>
                <a:gd name="T2" fmla="*/ 2147483647 w 878"/>
                <a:gd name="T3" fmla="*/ 2147483647 h 952"/>
                <a:gd name="T4" fmla="*/ 2147483647 w 878"/>
                <a:gd name="T5" fmla="*/ 0 h 952"/>
                <a:gd name="T6" fmla="*/ 2147483647 w 878"/>
                <a:gd name="T7" fmla="*/ 0 h 952"/>
                <a:gd name="T8" fmla="*/ 0 w 878"/>
                <a:gd name="T9" fmla="*/ 2147483647 h 952"/>
                <a:gd name="T10" fmla="*/ 2147483647 w 878"/>
                <a:gd name="T11" fmla="*/ 2147483647 h 952"/>
                <a:gd name="T12" fmla="*/ 2147483647 w 878"/>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8" h="952">
                  <a:moveTo>
                    <a:pt x="878" y="30"/>
                  </a:moveTo>
                  <a:lnTo>
                    <a:pt x="456" y="252"/>
                  </a:lnTo>
                  <a:lnTo>
                    <a:pt x="498" y="0"/>
                  </a:lnTo>
                  <a:lnTo>
                    <a:pt x="164" y="0"/>
                  </a:lnTo>
                  <a:lnTo>
                    <a:pt x="0" y="952"/>
                  </a:lnTo>
                  <a:lnTo>
                    <a:pt x="878" y="492"/>
                  </a:lnTo>
                  <a:lnTo>
                    <a:pt x="878" y="30"/>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3" name="Freeform 108"/>
            <p:cNvSpPr>
              <a:spLocks/>
            </p:cNvSpPr>
            <p:nvPr/>
          </p:nvSpPr>
          <p:spPr bwMode="auto">
            <a:xfrm>
              <a:off x="5763260" y="2000673"/>
              <a:ext cx="2015067" cy="2370667"/>
            </a:xfrm>
            <a:custGeom>
              <a:avLst/>
              <a:gdLst>
                <a:gd name="T0" fmla="*/ 2147483647 w 1534"/>
                <a:gd name="T1" fmla="*/ 2147483647 h 1804"/>
                <a:gd name="T2" fmla="*/ 0 w 1534"/>
                <a:gd name="T3" fmla="*/ 0 h 1804"/>
                <a:gd name="T4" fmla="*/ 0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2147483647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4" name="Freeform 109"/>
            <p:cNvSpPr>
              <a:spLocks/>
            </p:cNvSpPr>
            <p:nvPr/>
          </p:nvSpPr>
          <p:spPr bwMode="auto">
            <a:xfrm>
              <a:off x="3748193" y="2000673"/>
              <a:ext cx="2015067" cy="2370667"/>
            </a:xfrm>
            <a:custGeom>
              <a:avLst/>
              <a:gdLst>
                <a:gd name="T0" fmla="*/ 2147483647 w 1534"/>
                <a:gd name="T1" fmla="*/ 2147483647 h 1804"/>
                <a:gd name="T2" fmla="*/ 0 w 1534"/>
                <a:gd name="T3" fmla="*/ 2147483647 h 1804"/>
                <a:gd name="T4" fmla="*/ 2147483647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0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chemeClr val="bg1"/>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5" name="Freeform 121"/>
            <p:cNvSpPr>
              <a:spLocks/>
            </p:cNvSpPr>
            <p:nvPr/>
          </p:nvSpPr>
          <p:spPr bwMode="auto">
            <a:xfrm>
              <a:off x="5462693" y="3837941"/>
              <a:ext cx="254000" cy="25188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2147483647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2147483647 w 192"/>
                <a:gd name="T23" fmla="*/ 2147483647 h 192"/>
                <a:gd name="T24" fmla="*/ 2147483647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0 w 192"/>
                <a:gd name="T37" fmla="*/ 2147483647 h 192"/>
                <a:gd name="T38" fmla="*/ 0 w 192"/>
                <a:gd name="T39" fmla="*/ 2147483647 h 192"/>
                <a:gd name="T40" fmla="*/ 2147483647 w 192"/>
                <a:gd name="T41" fmla="*/ 2147483647 h 192"/>
                <a:gd name="T42" fmla="*/ 2147483647 w 192"/>
                <a:gd name="T43" fmla="*/ 2147483647 h 192"/>
                <a:gd name="T44" fmla="*/ 2147483647 w 192"/>
                <a:gd name="T45" fmla="*/ 2147483647 h 192"/>
                <a:gd name="T46" fmla="*/ 2147483647 w 192"/>
                <a:gd name="T47" fmla="*/ 2147483647 h 192"/>
                <a:gd name="T48" fmla="*/ 2147483647 w 192"/>
                <a:gd name="T49" fmla="*/ 2147483647 h 192"/>
                <a:gd name="T50" fmla="*/ 2147483647 w 192"/>
                <a:gd name="T51" fmla="*/ 2147483647 h 192"/>
                <a:gd name="T52" fmla="*/ 2147483647 w 192"/>
                <a:gd name="T53" fmla="*/ 2147483647 h 192"/>
                <a:gd name="T54" fmla="*/ 2147483647 w 192"/>
                <a:gd name="T55" fmla="*/ 0 h 192"/>
                <a:gd name="T56" fmla="*/ 2147483647 w 192"/>
                <a:gd name="T57" fmla="*/ 0 h 192"/>
                <a:gd name="T58" fmla="*/ 2147483647 w 192"/>
                <a:gd name="T59" fmla="*/ 2147483647 h 192"/>
                <a:gd name="T60" fmla="*/ 2147483647 w 192"/>
                <a:gd name="T61" fmla="*/ 2147483647 h 192"/>
                <a:gd name="T62" fmla="*/ 2147483647 w 192"/>
                <a:gd name="T63" fmla="*/ 2147483647 h 192"/>
                <a:gd name="T64" fmla="*/ 2147483647 w 192"/>
                <a:gd name="T65" fmla="*/ 2147483647 h 192"/>
                <a:gd name="T66" fmla="*/ 2147483647 w 192"/>
                <a:gd name="T67" fmla="*/ 2147483647 h 192"/>
                <a:gd name="T68" fmla="*/ 2147483647 w 192"/>
                <a:gd name="T69" fmla="*/ 2147483647 h 192"/>
                <a:gd name="T70" fmla="*/ 2147483647 w 192"/>
                <a:gd name="T71" fmla="*/ 2147483647 h 192"/>
                <a:gd name="T72" fmla="*/ 2147483647 w 192"/>
                <a:gd name="T73" fmla="*/ 2147483647 h 192"/>
                <a:gd name="T74" fmla="*/ 2147483647 w 192"/>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2">
                  <a:moveTo>
                    <a:pt x="192" y="96"/>
                  </a:moveTo>
                  <a:lnTo>
                    <a:pt x="192" y="96"/>
                  </a:lnTo>
                  <a:lnTo>
                    <a:pt x="190" y="116"/>
                  </a:lnTo>
                  <a:lnTo>
                    <a:pt x="184" y="134"/>
                  </a:lnTo>
                  <a:lnTo>
                    <a:pt x="174" y="150"/>
                  </a:lnTo>
                  <a:lnTo>
                    <a:pt x="164" y="164"/>
                  </a:lnTo>
                  <a:lnTo>
                    <a:pt x="150" y="176"/>
                  </a:lnTo>
                  <a:lnTo>
                    <a:pt x="132" y="184"/>
                  </a:lnTo>
                  <a:lnTo>
                    <a:pt x="116" y="190"/>
                  </a:lnTo>
                  <a:lnTo>
                    <a:pt x="96" y="192"/>
                  </a:lnTo>
                  <a:lnTo>
                    <a:pt x="76" y="190"/>
                  </a:lnTo>
                  <a:lnTo>
                    <a:pt x="58" y="184"/>
                  </a:lnTo>
                  <a:lnTo>
                    <a:pt x="42" y="176"/>
                  </a:lnTo>
                  <a:lnTo>
                    <a:pt x="28" y="164"/>
                  </a:lnTo>
                  <a:lnTo>
                    <a:pt x="16" y="150"/>
                  </a:lnTo>
                  <a:lnTo>
                    <a:pt x="8" y="134"/>
                  </a:lnTo>
                  <a:lnTo>
                    <a:pt x="2" y="116"/>
                  </a:lnTo>
                  <a:lnTo>
                    <a:pt x="0" y="96"/>
                  </a:lnTo>
                  <a:lnTo>
                    <a:pt x="2" y="76"/>
                  </a:lnTo>
                  <a:lnTo>
                    <a:pt x="8" y="58"/>
                  </a:lnTo>
                  <a:lnTo>
                    <a:pt x="16" y="42"/>
                  </a:lnTo>
                  <a:lnTo>
                    <a:pt x="28" y="28"/>
                  </a:lnTo>
                  <a:lnTo>
                    <a:pt x="42" y="18"/>
                  </a:lnTo>
                  <a:lnTo>
                    <a:pt x="58" y="8"/>
                  </a:lnTo>
                  <a:lnTo>
                    <a:pt x="76" y="2"/>
                  </a:lnTo>
                  <a:lnTo>
                    <a:pt x="96" y="0"/>
                  </a:lnTo>
                  <a:lnTo>
                    <a:pt x="116" y="2"/>
                  </a:lnTo>
                  <a:lnTo>
                    <a:pt x="132" y="8"/>
                  </a:lnTo>
                  <a:lnTo>
                    <a:pt x="150" y="18"/>
                  </a:lnTo>
                  <a:lnTo>
                    <a:pt x="164" y="28"/>
                  </a:lnTo>
                  <a:lnTo>
                    <a:pt x="174" y="42"/>
                  </a:lnTo>
                  <a:lnTo>
                    <a:pt x="184" y="58"/>
                  </a:lnTo>
                  <a:lnTo>
                    <a:pt x="190" y="76"/>
                  </a:lnTo>
                  <a:lnTo>
                    <a:pt x="192" y="96"/>
                  </a:lnTo>
                  <a:close/>
                </a:path>
              </a:pathLst>
            </a:custGeom>
            <a:grp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6" name="Freeform 122"/>
            <p:cNvSpPr>
              <a:spLocks/>
            </p:cNvSpPr>
            <p:nvPr/>
          </p:nvSpPr>
          <p:spPr bwMode="auto">
            <a:xfrm>
              <a:off x="5765378" y="3774440"/>
              <a:ext cx="315383" cy="315384"/>
            </a:xfrm>
            <a:custGeom>
              <a:avLst/>
              <a:gdLst>
                <a:gd name="T0" fmla="*/ 2147483647 w 240"/>
                <a:gd name="T1" fmla="*/ 2147483647 h 240"/>
                <a:gd name="T2" fmla="*/ 2147483647 w 240"/>
                <a:gd name="T3" fmla="*/ 2147483647 h 240"/>
                <a:gd name="T4" fmla="*/ 2147483647 w 240"/>
                <a:gd name="T5" fmla="*/ 2147483647 h 240"/>
                <a:gd name="T6" fmla="*/ 2147483647 w 240"/>
                <a:gd name="T7" fmla="*/ 2147483647 h 240"/>
                <a:gd name="T8" fmla="*/ 2147483647 w 240"/>
                <a:gd name="T9" fmla="*/ 2147483647 h 240"/>
                <a:gd name="T10" fmla="*/ 2147483647 w 240"/>
                <a:gd name="T11" fmla="*/ 2147483647 h 240"/>
                <a:gd name="T12" fmla="*/ 2147483647 w 240"/>
                <a:gd name="T13" fmla="*/ 2147483647 h 240"/>
                <a:gd name="T14" fmla="*/ 2147483647 w 240"/>
                <a:gd name="T15" fmla="*/ 2147483647 h 240"/>
                <a:gd name="T16" fmla="*/ 2147483647 w 240"/>
                <a:gd name="T17" fmla="*/ 2147483647 h 240"/>
                <a:gd name="T18" fmla="*/ 2147483647 w 240"/>
                <a:gd name="T19" fmla="*/ 2147483647 h 240"/>
                <a:gd name="T20" fmla="*/ 2147483647 w 240"/>
                <a:gd name="T21" fmla="*/ 2147483647 h 240"/>
                <a:gd name="T22" fmla="*/ 2147483647 w 240"/>
                <a:gd name="T23" fmla="*/ 2147483647 h 240"/>
                <a:gd name="T24" fmla="*/ 2147483647 w 240"/>
                <a:gd name="T25" fmla="*/ 2147483647 h 240"/>
                <a:gd name="T26" fmla="*/ 2147483647 w 240"/>
                <a:gd name="T27" fmla="*/ 2147483647 h 240"/>
                <a:gd name="T28" fmla="*/ 2147483647 w 240"/>
                <a:gd name="T29" fmla="*/ 2147483647 h 240"/>
                <a:gd name="T30" fmla="*/ 2147483647 w 240"/>
                <a:gd name="T31" fmla="*/ 2147483647 h 240"/>
                <a:gd name="T32" fmla="*/ 2147483647 w 240"/>
                <a:gd name="T33" fmla="*/ 2147483647 h 240"/>
                <a:gd name="T34" fmla="*/ 2147483647 w 240"/>
                <a:gd name="T35" fmla="*/ 2147483647 h 240"/>
                <a:gd name="T36" fmla="*/ 2147483647 w 240"/>
                <a:gd name="T37" fmla="*/ 2147483647 h 240"/>
                <a:gd name="T38" fmla="*/ 2147483647 w 240"/>
                <a:gd name="T39" fmla="*/ 2147483647 h 240"/>
                <a:gd name="T40" fmla="*/ 2147483647 w 240"/>
                <a:gd name="T41" fmla="*/ 2147483647 h 240"/>
                <a:gd name="T42" fmla="*/ 0 w 240"/>
                <a:gd name="T43" fmla="*/ 2147483647 h 240"/>
                <a:gd name="T44" fmla="*/ 0 w 240"/>
                <a:gd name="T45" fmla="*/ 2147483647 h 240"/>
                <a:gd name="T46" fmla="*/ 0 w 240"/>
                <a:gd name="T47" fmla="*/ 2147483647 h 240"/>
                <a:gd name="T48" fmla="*/ 0 w 240"/>
                <a:gd name="T49" fmla="*/ 2147483647 h 240"/>
                <a:gd name="T50" fmla="*/ 2147483647 w 240"/>
                <a:gd name="T51" fmla="*/ 2147483647 h 240"/>
                <a:gd name="T52" fmla="*/ 2147483647 w 240"/>
                <a:gd name="T53" fmla="*/ 2147483647 h 240"/>
                <a:gd name="T54" fmla="*/ 2147483647 w 240"/>
                <a:gd name="T55" fmla="*/ 2147483647 h 240"/>
                <a:gd name="T56" fmla="*/ 2147483647 w 240"/>
                <a:gd name="T57" fmla="*/ 2147483647 h 240"/>
                <a:gd name="T58" fmla="*/ 2147483647 w 240"/>
                <a:gd name="T59" fmla="*/ 2147483647 h 240"/>
                <a:gd name="T60" fmla="*/ 2147483647 w 240"/>
                <a:gd name="T61" fmla="*/ 2147483647 h 240"/>
                <a:gd name="T62" fmla="*/ 2147483647 w 240"/>
                <a:gd name="T63" fmla="*/ 2147483647 h 240"/>
                <a:gd name="T64" fmla="*/ 2147483647 w 240"/>
                <a:gd name="T65" fmla="*/ 0 h 240"/>
                <a:gd name="T66" fmla="*/ 2147483647 w 240"/>
                <a:gd name="T67" fmla="*/ 0 h 240"/>
                <a:gd name="T68" fmla="*/ 2147483647 w 240"/>
                <a:gd name="T69" fmla="*/ 0 h 240"/>
                <a:gd name="T70" fmla="*/ 2147483647 w 240"/>
                <a:gd name="T71" fmla="*/ 0 h 240"/>
                <a:gd name="T72" fmla="*/ 2147483647 w 240"/>
                <a:gd name="T73" fmla="*/ 2147483647 h 240"/>
                <a:gd name="T74" fmla="*/ 2147483647 w 240"/>
                <a:gd name="T75" fmla="*/ 2147483647 h 240"/>
                <a:gd name="T76" fmla="*/ 2147483647 w 240"/>
                <a:gd name="T77" fmla="*/ 2147483647 h 240"/>
                <a:gd name="T78" fmla="*/ 2147483647 w 240"/>
                <a:gd name="T79" fmla="*/ 2147483647 h 240"/>
                <a:gd name="T80" fmla="*/ 2147483647 w 240"/>
                <a:gd name="T81" fmla="*/ 2147483647 h 240"/>
                <a:gd name="T82" fmla="*/ 2147483647 w 240"/>
                <a:gd name="T83" fmla="*/ 2147483647 h 240"/>
                <a:gd name="T84" fmla="*/ 2147483647 w 240"/>
                <a:gd name="T85" fmla="*/ 2147483647 h 240"/>
                <a:gd name="T86" fmla="*/ 2147483647 w 240"/>
                <a:gd name="T87" fmla="*/ 2147483647 h 240"/>
                <a:gd name="T88" fmla="*/ 2147483647 w 240"/>
                <a:gd name="T89" fmla="*/ 2147483647 h 240"/>
                <a:gd name="T90" fmla="*/ 2147483647 w 240"/>
                <a:gd name="T91" fmla="*/ 2147483647 h 2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0" h="240">
                  <a:moveTo>
                    <a:pt x="240" y="120"/>
                  </a:moveTo>
                  <a:lnTo>
                    <a:pt x="240" y="120"/>
                  </a:lnTo>
                  <a:lnTo>
                    <a:pt x="238" y="132"/>
                  </a:lnTo>
                  <a:lnTo>
                    <a:pt x="238" y="144"/>
                  </a:lnTo>
                  <a:lnTo>
                    <a:pt x="230" y="166"/>
                  </a:lnTo>
                  <a:lnTo>
                    <a:pt x="218" y="186"/>
                  </a:lnTo>
                  <a:lnTo>
                    <a:pt x="204" y="204"/>
                  </a:lnTo>
                  <a:lnTo>
                    <a:pt x="186" y="218"/>
                  </a:lnTo>
                  <a:lnTo>
                    <a:pt x="166" y="230"/>
                  </a:lnTo>
                  <a:lnTo>
                    <a:pt x="144" y="236"/>
                  </a:lnTo>
                  <a:lnTo>
                    <a:pt x="132" y="238"/>
                  </a:lnTo>
                  <a:lnTo>
                    <a:pt x="120" y="240"/>
                  </a:lnTo>
                  <a:lnTo>
                    <a:pt x="108" y="238"/>
                  </a:lnTo>
                  <a:lnTo>
                    <a:pt x="96" y="236"/>
                  </a:lnTo>
                  <a:lnTo>
                    <a:pt x="72" y="230"/>
                  </a:lnTo>
                  <a:lnTo>
                    <a:pt x="52" y="218"/>
                  </a:lnTo>
                  <a:lnTo>
                    <a:pt x="34" y="204"/>
                  </a:lnTo>
                  <a:lnTo>
                    <a:pt x="20" y="186"/>
                  </a:lnTo>
                  <a:lnTo>
                    <a:pt x="8" y="166"/>
                  </a:lnTo>
                  <a:lnTo>
                    <a:pt x="2" y="144"/>
                  </a:lnTo>
                  <a:lnTo>
                    <a:pt x="0" y="132"/>
                  </a:lnTo>
                  <a:lnTo>
                    <a:pt x="0" y="120"/>
                  </a:lnTo>
                  <a:lnTo>
                    <a:pt x="0" y="108"/>
                  </a:lnTo>
                  <a:lnTo>
                    <a:pt x="2" y="96"/>
                  </a:lnTo>
                  <a:lnTo>
                    <a:pt x="8" y="72"/>
                  </a:lnTo>
                  <a:lnTo>
                    <a:pt x="20" y="52"/>
                  </a:lnTo>
                  <a:lnTo>
                    <a:pt x="34" y="34"/>
                  </a:lnTo>
                  <a:lnTo>
                    <a:pt x="52" y="20"/>
                  </a:lnTo>
                  <a:lnTo>
                    <a:pt x="72" y="8"/>
                  </a:lnTo>
                  <a:lnTo>
                    <a:pt x="96" y="2"/>
                  </a:lnTo>
                  <a:lnTo>
                    <a:pt x="108" y="0"/>
                  </a:lnTo>
                  <a:lnTo>
                    <a:pt x="120" y="0"/>
                  </a:lnTo>
                  <a:lnTo>
                    <a:pt x="132" y="0"/>
                  </a:lnTo>
                  <a:lnTo>
                    <a:pt x="144" y="2"/>
                  </a:lnTo>
                  <a:lnTo>
                    <a:pt x="166" y="8"/>
                  </a:lnTo>
                  <a:lnTo>
                    <a:pt x="186" y="20"/>
                  </a:lnTo>
                  <a:lnTo>
                    <a:pt x="204" y="34"/>
                  </a:lnTo>
                  <a:lnTo>
                    <a:pt x="218" y="52"/>
                  </a:lnTo>
                  <a:lnTo>
                    <a:pt x="230" y="72"/>
                  </a:lnTo>
                  <a:lnTo>
                    <a:pt x="238" y="96"/>
                  </a:lnTo>
                  <a:lnTo>
                    <a:pt x="238" y="108"/>
                  </a:lnTo>
                  <a:lnTo>
                    <a:pt x="240" y="120"/>
                  </a:lnTo>
                  <a:close/>
                </a:path>
              </a:pathLst>
            </a:custGeom>
            <a:solidFill>
              <a:schemeClr val="tx1"/>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7" name="Freeform 123"/>
            <p:cNvSpPr>
              <a:spLocks/>
            </p:cNvSpPr>
            <p:nvPr/>
          </p:nvSpPr>
          <p:spPr bwMode="auto">
            <a:xfrm>
              <a:off x="5462693" y="4142740"/>
              <a:ext cx="254000" cy="247651"/>
            </a:xfrm>
            <a:custGeom>
              <a:avLst/>
              <a:gdLst>
                <a:gd name="T0" fmla="*/ 2147483647 w 192"/>
                <a:gd name="T1" fmla="*/ 2147483647 h 190"/>
                <a:gd name="T2" fmla="*/ 2147483647 w 192"/>
                <a:gd name="T3" fmla="*/ 2147483647 h 190"/>
                <a:gd name="T4" fmla="*/ 2147483647 w 192"/>
                <a:gd name="T5" fmla="*/ 2147483647 h 190"/>
                <a:gd name="T6" fmla="*/ 2147483647 w 192"/>
                <a:gd name="T7" fmla="*/ 2147483647 h 190"/>
                <a:gd name="T8" fmla="*/ 2147483647 w 192"/>
                <a:gd name="T9" fmla="*/ 2147483647 h 190"/>
                <a:gd name="T10" fmla="*/ 2147483647 w 192"/>
                <a:gd name="T11" fmla="*/ 2147483647 h 190"/>
                <a:gd name="T12" fmla="*/ 2147483647 w 192"/>
                <a:gd name="T13" fmla="*/ 2147483647 h 190"/>
                <a:gd name="T14" fmla="*/ 2147483647 w 192"/>
                <a:gd name="T15" fmla="*/ 2147483647 h 190"/>
                <a:gd name="T16" fmla="*/ 2147483647 w 192"/>
                <a:gd name="T17" fmla="*/ 2147483647 h 190"/>
                <a:gd name="T18" fmla="*/ 2147483647 w 192"/>
                <a:gd name="T19" fmla="*/ 2147483647 h 190"/>
                <a:gd name="T20" fmla="*/ 2147483647 w 192"/>
                <a:gd name="T21" fmla="*/ 2147483647 h 190"/>
                <a:gd name="T22" fmla="*/ 2147483647 w 192"/>
                <a:gd name="T23" fmla="*/ 2147483647 h 190"/>
                <a:gd name="T24" fmla="*/ 2147483647 w 192"/>
                <a:gd name="T25" fmla="*/ 2147483647 h 190"/>
                <a:gd name="T26" fmla="*/ 2147483647 w 192"/>
                <a:gd name="T27" fmla="*/ 2147483647 h 190"/>
                <a:gd name="T28" fmla="*/ 2147483647 w 192"/>
                <a:gd name="T29" fmla="*/ 2147483647 h 190"/>
                <a:gd name="T30" fmla="*/ 2147483647 w 192"/>
                <a:gd name="T31" fmla="*/ 2147483647 h 190"/>
                <a:gd name="T32" fmla="*/ 2147483647 w 192"/>
                <a:gd name="T33" fmla="*/ 2147483647 h 190"/>
                <a:gd name="T34" fmla="*/ 2147483647 w 192"/>
                <a:gd name="T35" fmla="*/ 2147483647 h 190"/>
                <a:gd name="T36" fmla="*/ 0 w 192"/>
                <a:gd name="T37" fmla="*/ 2147483647 h 190"/>
                <a:gd name="T38" fmla="*/ 0 w 192"/>
                <a:gd name="T39" fmla="*/ 2147483647 h 190"/>
                <a:gd name="T40" fmla="*/ 2147483647 w 192"/>
                <a:gd name="T41" fmla="*/ 2147483647 h 190"/>
                <a:gd name="T42" fmla="*/ 2147483647 w 192"/>
                <a:gd name="T43" fmla="*/ 2147483647 h 190"/>
                <a:gd name="T44" fmla="*/ 2147483647 w 192"/>
                <a:gd name="T45" fmla="*/ 2147483647 h 190"/>
                <a:gd name="T46" fmla="*/ 2147483647 w 192"/>
                <a:gd name="T47" fmla="*/ 2147483647 h 190"/>
                <a:gd name="T48" fmla="*/ 2147483647 w 192"/>
                <a:gd name="T49" fmla="*/ 2147483647 h 190"/>
                <a:gd name="T50" fmla="*/ 2147483647 w 192"/>
                <a:gd name="T51" fmla="*/ 2147483647 h 190"/>
                <a:gd name="T52" fmla="*/ 2147483647 w 192"/>
                <a:gd name="T53" fmla="*/ 2147483647 h 190"/>
                <a:gd name="T54" fmla="*/ 2147483647 w 192"/>
                <a:gd name="T55" fmla="*/ 0 h 190"/>
                <a:gd name="T56" fmla="*/ 2147483647 w 192"/>
                <a:gd name="T57" fmla="*/ 0 h 190"/>
                <a:gd name="T58" fmla="*/ 2147483647 w 192"/>
                <a:gd name="T59" fmla="*/ 2147483647 h 190"/>
                <a:gd name="T60" fmla="*/ 2147483647 w 192"/>
                <a:gd name="T61" fmla="*/ 2147483647 h 190"/>
                <a:gd name="T62" fmla="*/ 2147483647 w 192"/>
                <a:gd name="T63" fmla="*/ 2147483647 h 190"/>
                <a:gd name="T64" fmla="*/ 2147483647 w 192"/>
                <a:gd name="T65" fmla="*/ 2147483647 h 190"/>
                <a:gd name="T66" fmla="*/ 2147483647 w 192"/>
                <a:gd name="T67" fmla="*/ 2147483647 h 190"/>
                <a:gd name="T68" fmla="*/ 2147483647 w 192"/>
                <a:gd name="T69" fmla="*/ 2147483647 h 190"/>
                <a:gd name="T70" fmla="*/ 2147483647 w 192"/>
                <a:gd name="T71" fmla="*/ 2147483647 h 190"/>
                <a:gd name="T72" fmla="*/ 2147483647 w 192"/>
                <a:gd name="T73" fmla="*/ 2147483647 h 190"/>
                <a:gd name="T74" fmla="*/ 2147483647 w 192"/>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0">
                  <a:moveTo>
                    <a:pt x="192" y="94"/>
                  </a:moveTo>
                  <a:lnTo>
                    <a:pt x="192" y="94"/>
                  </a:lnTo>
                  <a:lnTo>
                    <a:pt x="190" y="114"/>
                  </a:lnTo>
                  <a:lnTo>
                    <a:pt x="184" y="132"/>
                  </a:lnTo>
                  <a:lnTo>
                    <a:pt x="174" y="148"/>
                  </a:lnTo>
                  <a:lnTo>
                    <a:pt x="164" y="162"/>
                  </a:lnTo>
                  <a:lnTo>
                    <a:pt x="150" y="174"/>
                  </a:lnTo>
                  <a:lnTo>
                    <a:pt x="132" y="182"/>
                  </a:lnTo>
                  <a:lnTo>
                    <a:pt x="116" y="188"/>
                  </a:lnTo>
                  <a:lnTo>
                    <a:pt x="96"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6" y="0"/>
                  </a:lnTo>
                  <a:lnTo>
                    <a:pt x="116" y="2"/>
                  </a:lnTo>
                  <a:lnTo>
                    <a:pt x="132" y="8"/>
                  </a:lnTo>
                  <a:lnTo>
                    <a:pt x="150" y="16"/>
                  </a:lnTo>
                  <a:lnTo>
                    <a:pt x="164" y="28"/>
                  </a:lnTo>
                  <a:lnTo>
                    <a:pt x="174" y="42"/>
                  </a:lnTo>
                  <a:lnTo>
                    <a:pt x="184" y="58"/>
                  </a:lnTo>
                  <a:lnTo>
                    <a:pt x="190" y="76"/>
                  </a:lnTo>
                  <a:lnTo>
                    <a:pt x="192" y="94"/>
                  </a:lnTo>
                  <a:close/>
                </a:path>
              </a:pathLst>
            </a:custGeom>
            <a:solidFill>
              <a:schemeClr val="tx2"/>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18" name="Freeform 124"/>
            <p:cNvSpPr>
              <a:spLocks/>
            </p:cNvSpPr>
            <p:nvPr/>
          </p:nvSpPr>
          <p:spPr bwMode="auto">
            <a:xfrm>
              <a:off x="5765378" y="4142740"/>
              <a:ext cx="249767" cy="247651"/>
            </a:xfrm>
            <a:custGeom>
              <a:avLst/>
              <a:gdLst>
                <a:gd name="T0" fmla="*/ 2147483647 w 190"/>
                <a:gd name="T1" fmla="*/ 2147483647 h 190"/>
                <a:gd name="T2" fmla="*/ 2147483647 w 190"/>
                <a:gd name="T3" fmla="*/ 2147483647 h 190"/>
                <a:gd name="T4" fmla="*/ 2147483647 w 190"/>
                <a:gd name="T5" fmla="*/ 2147483647 h 190"/>
                <a:gd name="T6" fmla="*/ 2147483647 w 190"/>
                <a:gd name="T7" fmla="*/ 2147483647 h 190"/>
                <a:gd name="T8" fmla="*/ 2147483647 w 190"/>
                <a:gd name="T9" fmla="*/ 2147483647 h 190"/>
                <a:gd name="T10" fmla="*/ 2147483647 w 190"/>
                <a:gd name="T11" fmla="*/ 2147483647 h 190"/>
                <a:gd name="T12" fmla="*/ 2147483647 w 190"/>
                <a:gd name="T13" fmla="*/ 2147483647 h 190"/>
                <a:gd name="T14" fmla="*/ 2147483647 w 190"/>
                <a:gd name="T15" fmla="*/ 2147483647 h 190"/>
                <a:gd name="T16" fmla="*/ 2147483647 w 190"/>
                <a:gd name="T17" fmla="*/ 2147483647 h 190"/>
                <a:gd name="T18" fmla="*/ 2147483647 w 190"/>
                <a:gd name="T19" fmla="*/ 2147483647 h 190"/>
                <a:gd name="T20" fmla="*/ 2147483647 w 190"/>
                <a:gd name="T21" fmla="*/ 2147483647 h 190"/>
                <a:gd name="T22" fmla="*/ 2147483647 w 190"/>
                <a:gd name="T23" fmla="*/ 2147483647 h 190"/>
                <a:gd name="T24" fmla="*/ 2147483647 w 190"/>
                <a:gd name="T25" fmla="*/ 2147483647 h 190"/>
                <a:gd name="T26" fmla="*/ 2147483647 w 190"/>
                <a:gd name="T27" fmla="*/ 2147483647 h 190"/>
                <a:gd name="T28" fmla="*/ 2147483647 w 190"/>
                <a:gd name="T29" fmla="*/ 2147483647 h 190"/>
                <a:gd name="T30" fmla="*/ 2147483647 w 190"/>
                <a:gd name="T31" fmla="*/ 2147483647 h 190"/>
                <a:gd name="T32" fmla="*/ 2147483647 w 190"/>
                <a:gd name="T33" fmla="*/ 2147483647 h 190"/>
                <a:gd name="T34" fmla="*/ 2147483647 w 190"/>
                <a:gd name="T35" fmla="*/ 2147483647 h 190"/>
                <a:gd name="T36" fmla="*/ 0 w 190"/>
                <a:gd name="T37" fmla="*/ 2147483647 h 190"/>
                <a:gd name="T38" fmla="*/ 0 w 190"/>
                <a:gd name="T39" fmla="*/ 2147483647 h 190"/>
                <a:gd name="T40" fmla="*/ 2147483647 w 190"/>
                <a:gd name="T41" fmla="*/ 2147483647 h 190"/>
                <a:gd name="T42" fmla="*/ 2147483647 w 190"/>
                <a:gd name="T43" fmla="*/ 2147483647 h 190"/>
                <a:gd name="T44" fmla="*/ 2147483647 w 190"/>
                <a:gd name="T45" fmla="*/ 2147483647 h 190"/>
                <a:gd name="T46" fmla="*/ 2147483647 w 190"/>
                <a:gd name="T47" fmla="*/ 2147483647 h 190"/>
                <a:gd name="T48" fmla="*/ 2147483647 w 190"/>
                <a:gd name="T49" fmla="*/ 2147483647 h 190"/>
                <a:gd name="T50" fmla="*/ 2147483647 w 190"/>
                <a:gd name="T51" fmla="*/ 2147483647 h 190"/>
                <a:gd name="T52" fmla="*/ 2147483647 w 190"/>
                <a:gd name="T53" fmla="*/ 2147483647 h 190"/>
                <a:gd name="T54" fmla="*/ 2147483647 w 190"/>
                <a:gd name="T55" fmla="*/ 0 h 190"/>
                <a:gd name="T56" fmla="*/ 2147483647 w 190"/>
                <a:gd name="T57" fmla="*/ 0 h 190"/>
                <a:gd name="T58" fmla="*/ 2147483647 w 190"/>
                <a:gd name="T59" fmla="*/ 2147483647 h 190"/>
                <a:gd name="T60" fmla="*/ 2147483647 w 190"/>
                <a:gd name="T61" fmla="*/ 2147483647 h 190"/>
                <a:gd name="T62" fmla="*/ 2147483647 w 190"/>
                <a:gd name="T63" fmla="*/ 2147483647 h 190"/>
                <a:gd name="T64" fmla="*/ 2147483647 w 190"/>
                <a:gd name="T65" fmla="*/ 2147483647 h 190"/>
                <a:gd name="T66" fmla="*/ 2147483647 w 190"/>
                <a:gd name="T67" fmla="*/ 2147483647 h 190"/>
                <a:gd name="T68" fmla="*/ 2147483647 w 190"/>
                <a:gd name="T69" fmla="*/ 2147483647 h 190"/>
                <a:gd name="T70" fmla="*/ 2147483647 w 190"/>
                <a:gd name="T71" fmla="*/ 2147483647 h 190"/>
                <a:gd name="T72" fmla="*/ 2147483647 w 190"/>
                <a:gd name="T73" fmla="*/ 2147483647 h 190"/>
                <a:gd name="T74" fmla="*/ 2147483647 w 190"/>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0" h="190">
                  <a:moveTo>
                    <a:pt x="190" y="94"/>
                  </a:moveTo>
                  <a:lnTo>
                    <a:pt x="190" y="94"/>
                  </a:lnTo>
                  <a:lnTo>
                    <a:pt x="188" y="114"/>
                  </a:lnTo>
                  <a:lnTo>
                    <a:pt x="182" y="132"/>
                  </a:lnTo>
                  <a:lnTo>
                    <a:pt x="174" y="148"/>
                  </a:lnTo>
                  <a:lnTo>
                    <a:pt x="162" y="162"/>
                  </a:lnTo>
                  <a:lnTo>
                    <a:pt x="148" y="174"/>
                  </a:lnTo>
                  <a:lnTo>
                    <a:pt x="132" y="182"/>
                  </a:lnTo>
                  <a:lnTo>
                    <a:pt x="114" y="188"/>
                  </a:lnTo>
                  <a:lnTo>
                    <a:pt x="94"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4" y="0"/>
                  </a:lnTo>
                  <a:lnTo>
                    <a:pt x="114" y="2"/>
                  </a:lnTo>
                  <a:lnTo>
                    <a:pt x="132" y="8"/>
                  </a:lnTo>
                  <a:lnTo>
                    <a:pt x="148" y="16"/>
                  </a:lnTo>
                  <a:lnTo>
                    <a:pt x="162" y="28"/>
                  </a:lnTo>
                  <a:lnTo>
                    <a:pt x="174" y="42"/>
                  </a:lnTo>
                  <a:lnTo>
                    <a:pt x="182" y="58"/>
                  </a:lnTo>
                  <a:lnTo>
                    <a:pt x="188" y="76"/>
                  </a:lnTo>
                  <a:lnTo>
                    <a:pt x="190" y="94"/>
                  </a:lnTo>
                  <a:close/>
                </a:path>
              </a:pathLst>
            </a:custGeom>
            <a:solidFill>
              <a:schemeClr val="bg2"/>
            </a:solidFill>
            <a:ln>
              <a:noFill/>
            </a:ln>
            <a:extLst/>
          </p:spPr>
          <p:txBody>
            <a:bodyPr/>
            <a:lstStyle/>
            <a:p>
              <a:pPr fontAlgn="base">
                <a:spcBef>
                  <a:spcPct val="0"/>
                </a:spcBef>
                <a:spcAft>
                  <a:spcPct val="0"/>
                </a:spcAft>
              </a:pPr>
              <a:endParaRPr lang="zh-CN" altLang="en-US" sz="1800">
                <a:solidFill>
                  <a:schemeClr val="accent1"/>
                </a:solidFill>
                <a:latin typeface="FZSJ-YANGGNH" panose="02010600010101010101" pitchFamily="2" charset="-122"/>
                <a:ea typeface="FZSJ-YANGGNH" panose="02010600010101010101" pitchFamily="2" charset="-122"/>
              </a:endParaRPr>
            </a:p>
          </p:txBody>
        </p:sp>
      </p:grpSp>
      <p:sp>
        <p:nvSpPr>
          <p:cNvPr id="19" name="矩形 1"/>
          <p:cNvSpPr>
            <a:spLocks noChangeArrowheads="1"/>
          </p:cNvSpPr>
          <p:nvPr/>
        </p:nvSpPr>
        <p:spPr bwMode="auto">
          <a:xfrm>
            <a:off x="6172058" y="1275606"/>
            <a:ext cx="18797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latin typeface="FZSJ-YANGGNH" panose="02010600010101010101" pitchFamily="2" charset="-122"/>
                <a:ea typeface="FZSJ-YANGGNH" panose="02010600010101010101" pitchFamily="2" charset="-122"/>
              </a:rPr>
              <a:t>此处添加标题内容</a:t>
            </a:r>
            <a:endParaRPr lang="en-US" altLang="zh-CN" sz="1600" b="1" dirty="0">
              <a:latin typeface="FZSJ-YANGGNH" panose="02010600010101010101" pitchFamily="2" charset="-122"/>
              <a:ea typeface="FZSJ-YANGGNH" panose="02010600010101010101" pitchFamily="2" charset="-122"/>
            </a:endParaRPr>
          </a:p>
        </p:txBody>
      </p:sp>
      <p:sp>
        <p:nvSpPr>
          <p:cNvPr id="20" name="矩形 1"/>
          <p:cNvSpPr>
            <a:spLocks noChangeArrowheads="1"/>
          </p:cNvSpPr>
          <p:nvPr/>
        </p:nvSpPr>
        <p:spPr bwMode="auto">
          <a:xfrm>
            <a:off x="979573" y="1275606"/>
            <a:ext cx="197061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1"/>
                </a:solidFill>
                <a:latin typeface="FZSJ-YANGGNH" panose="02010600010101010101" pitchFamily="2" charset="-122"/>
                <a:ea typeface="FZSJ-YANGGNH" panose="02010600010101010101" pitchFamily="2" charset="-122"/>
              </a:rPr>
              <a:t>此处添加标题内容</a:t>
            </a:r>
            <a:endParaRPr lang="en-US" altLang="zh-CN" sz="1600" b="1" dirty="0">
              <a:solidFill>
                <a:schemeClr val="bg1"/>
              </a:solidFill>
              <a:latin typeface="FZSJ-YANGGNH" panose="02010600010101010101" pitchFamily="2" charset="-122"/>
              <a:ea typeface="FZSJ-YANGGNH" panose="02010600010101010101" pitchFamily="2" charset="-122"/>
            </a:endParaRPr>
          </a:p>
        </p:txBody>
      </p:sp>
      <p:sp>
        <p:nvSpPr>
          <p:cNvPr id="21" name="矩形 1"/>
          <p:cNvSpPr>
            <a:spLocks noChangeArrowheads="1"/>
          </p:cNvSpPr>
          <p:nvPr/>
        </p:nvSpPr>
        <p:spPr bwMode="auto">
          <a:xfrm>
            <a:off x="6172055" y="2794494"/>
            <a:ext cx="18797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2"/>
                </a:solidFill>
                <a:latin typeface="FZSJ-YANGGNH" panose="02010600010101010101" pitchFamily="2" charset="-122"/>
                <a:ea typeface="FZSJ-YANGGNH" panose="02010600010101010101" pitchFamily="2" charset="-122"/>
              </a:rPr>
              <a:t>此处添加标题内容</a:t>
            </a:r>
            <a:endParaRPr lang="en-US" altLang="zh-CN" sz="1600" b="1" dirty="0">
              <a:solidFill>
                <a:schemeClr val="bg2"/>
              </a:solidFill>
              <a:latin typeface="FZSJ-YANGGNH" panose="02010600010101010101" pitchFamily="2" charset="-122"/>
              <a:ea typeface="FZSJ-YANGGNH" panose="02010600010101010101" pitchFamily="2" charset="-122"/>
            </a:endParaRPr>
          </a:p>
        </p:txBody>
      </p:sp>
      <p:sp>
        <p:nvSpPr>
          <p:cNvPr id="22" name="矩形 1"/>
          <p:cNvSpPr>
            <a:spLocks noChangeArrowheads="1"/>
          </p:cNvSpPr>
          <p:nvPr/>
        </p:nvSpPr>
        <p:spPr bwMode="auto">
          <a:xfrm>
            <a:off x="943087" y="2796078"/>
            <a:ext cx="197061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tx2"/>
                </a:solidFill>
                <a:latin typeface="FZSJ-YANGGNH" panose="02010600010101010101" pitchFamily="2" charset="-122"/>
                <a:ea typeface="FZSJ-YANGGNH" panose="02010600010101010101" pitchFamily="2" charset="-122"/>
              </a:rPr>
              <a:t>此处添加标题内容</a:t>
            </a:r>
            <a:endParaRPr lang="en-US" altLang="zh-CN" sz="1600" b="1" dirty="0">
              <a:solidFill>
                <a:schemeClr val="tx2"/>
              </a:solidFill>
              <a:latin typeface="FZSJ-YANGGNH" panose="02010600010101010101" pitchFamily="2" charset="-122"/>
              <a:ea typeface="FZSJ-YANGGNH" panose="02010600010101010101" pitchFamily="2" charset="-122"/>
            </a:endParaRPr>
          </a:p>
        </p:txBody>
      </p:sp>
      <p:grpSp>
        <p:nvGrpSpPr>
          <p:cNvPr id="23" name="组合 22"/>
          <p:cNvGrpSpPr/>
          <p:nvPr/>
        </p:nvGrpSpPr>
        <p:grpSpPr>
          <a:xfrm>
            <a:off x="1059038" y="1716605"/>
            <a:ext cx="3014603" cy="661834"/>
            <a:chOff x="1177047" y="2540424"/>
            <a:chExt cx="4018947" cy="882650"/>
          </a:xfrm>
        </p:grpSpPr>
        <p:sp>
          <p:nvSpPr>
            <p:cNvPr id="24" name="任意多边形 23"/>
            <p:cNvSpPr/>
            <p:nvPr/>
          </p:nvSpPr>
          <p:spPr>
            <a:xfrm flipH="1">
              <a:off x="1177047" y="2540424"/>
              <a:ext cx="3966030"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bg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25" name="Oval 54"/>
            <p:cNvSpPr>
              <a:spLocks noChangeArrowheads="1"/>
            </p:cNvSpPr>
            <p:nvPr/>
          </p:nvSpPr>
          <p:spPr bwMode="auto">
            <a:xfrm>
              <a:off x="5085927" y="3313007"/>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grpSp>
      <p:grpSp>
        <p:nvGrpSpPr>
          <p:cNvPr id="26" name="组合 25"/>
          <p:cNvGrpSpPr/>
          <p:nvPr/>
        </p:nvGrpSpPr>
        <p:grpSpPr>
          <a:xfrm>
            <a:off x="5099299" y="1726128"/>
            <a:ext cx="2784837" cy="658659"/>
            <a:chOff x="6563360" y="2553124"/>
            <a:chExt cx="3712633" cy="878416"/>
          </a:xfrm>
        </p:grpSpPr>
        <p:sp>
          <p:nvSpPr>
            <p:cNvPr id="27" name="任意多边形 26"/>
            <p:cNvSpPr/>
            <p:nvPr/>
          </p:nvSpPr>
          <p:spPr>
            <a:xfrm>
              <a:off x="6626860" y="2553124"/>
              <a:ext cx="3649133"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tx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28" name="Oval 54"/>
            <p:cNvSpPr>
              <a:spLocks noChangeArrowheads="1"/>
            </p:cNvSpPr>
            <p:nvPr/>
          </p:nvSpPr>
          <p:spPr bwMode="auto">
            <a:xfrm>
              <a:off x="6563360" y="3321473"/>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grpSp>
      <p:grpSp>
        <p:nvGrpSpPr>
          <p:cNvPr id="29" name="组合 28"/>
          <p:cNvGrpSpPr/>
          <p:nvPr/>
        </p:nvGrpSpPr>
        <p:grpSpPr>
          <a:xfrm>
            <a:off x="5146930" y="3241839"/>
            <a:ext cx="2757847" cy="661834"/>
            <a:chOff x="6626860" y="4574541"/>
            <a:chExt cx="3676651" cy="882650"/>
          </a:xfrm>
        </p:grpSpPr>
        <p:sp>
          <p:nvSpPr>
            <p:cNvPr id="30" name="任意多边形 29"/>
            <p:cNvSpPr/>
            <p:nvPr/>
          </p:nvSpPr>
          <p:spPr>
            <a:xfrm>
              <a:off x="6686127" y="4574541"/>
              <a:ext cx="3617384"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bg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31" name="Oval 54"/>
            <p:cNvSpPr>
              <a:spLocks noChangeArrowheads="1"/>
            </p:cNvSpPr>
            <p:nvPr/>
          </p:nvSpPr>
          <p:spPr bwMode="auto">
            <a:xfrm>
              <a:off x="6626860"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grpSp>
      <p:grpSp>
        <p:nvGrpSpPr>
          <p:cNvPr id="32" name="组合 31"/>
          <p:cNvGrpSpPr/>
          <p:nvPr/>
        </p:nvGrpSpPr>
        <p:grpSpPr>
          <a:xfrm>
            <a:off x="1059037" y="3241839"/>
            <a:ext cx="2730404" cy="661834"/>
            <a:chOff x="1177046" y="4574541"/>
            <a:chExt cx="3640065" cy="882650"/>
          </a:xfrm>
        </p:grpSpPr>
        <p:sp>
          <p:nvSpPr>
            <p:cNvPr id="33" name="任意多边形 32"/>
            <p:cNvSpPr/>
            <p:nvPr/>
          </p:nvSpPr>
          <p:spPr>
            <a:xfrm flipH="1">
              <a:off x="1177046" y="4574541"/>
              <a:ext cx="3574447"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tx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sp>
          <p:nvSpPr>
            <p:cNvPr id="34" name="Oval 54"/>
            <p:cNvSpPr>
              <a:spLocks noChangeArrowheads="1"/>
            </p:cNvSpPr>
            <p:nvPr/>
          </p:nvSpPr>
          <p:spPr bwMode="auto">
            <a:xfrm>
              <a:off x="4707044"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FZSJ-YANGGNH" panose="02010600010101010101" pitchFamily="2" charset="-122"/>
                <a:ea typeface="FZSJ-YANGGNH" panose="02010600010101010101" pitchFamily="2" charset="-122"/>
              </a:endParaRPr>
            </a:p>
          </p:txBody>
        </p:sp>
      </p:grpSp>
      <p:sp>
        <p:nvSpPr>
          <p:cNvPr id="35" name="矩形 1"/>
          <p:cNvSpPr>
            <a:spLocks noChangeArrowheads="1"/>
          </p:cNvSpPr>
          <p:nvPr/>
        </p:nvSpPr>
        <p:spPr bwMode="auto">
          <a:xfrm>
            <a:off x="915021" y="178360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FZSJ-YANGGNH" panose="02010600010101010101" pitchFamily="2" charset="-122"/>
                <a:ea typeface="FZSJ-YANGGNH" panose="02010600010101010101" pitchFamily="2" charset="-122"/>
              </a:rPr>
              <a:t>点击输入简要文字内容，文字内容需概括精炼，不用多余的文字修饰，言简意赅的说明分项内容。</a:t>
            </a:r>
            <a:endParaRPr lang="en-US" altLang="zh-CN" sz="1200" dirty="0">
              <a:solidFill>
                <a:schemeClr val="accent1"/>
              </a:solidFill>
              <a:latin typeface="FZSJ-YANGGNH" panose="02010600010101010101" pitchFamily="2" charset="-122"/>
              <a:ea typeface="FZSJ-YANGGNH" panose="02010600010101010101" pitchFamily="2" charset="-122"/>
            </a:endParaRPr>
          </a:p>
        </p:txBody>
      </p:sp>
      <p:sp>
        <p:nvSpPr>
          <p:cNvPr id="36" name="矩形 1"/>
          <p:cNvSpPr>
            <a:spLocks noChangeArrowheads="1"/>
          </p:cNvSpPr>
          <p:nvPr/>
        </p:nvSpPr>
        <p:spPr bwMode="auto">
          <a:xfrm>
            <a:off x="940153" y="3303744"/>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FZSJ-YANGGNH" panose="02010600010101010101" pitchFamily="2" charset="-122"/>
                <a:ea typeface="FZSJ-YANGGNH" panose="02010600010101010101" pitchFamily="2" charset="-122"/>
              </a:rPr>
              <a:t>点击输入简要文字内容，文字内容需概括精炼，不用多余的文字修饰，言简意赅的说明分项内容。</a:t>
            </a:r>
            <a:endParaRPr lang="en-US" altLang="zh-CN" sz="1200" dirty="0">
              <a:solidFill>
                <a:schemeClr val="accent1"/>
              </a:solidFill>
              <a:latin typeface="FZSJ-YANGGNH" panose="02010600010101010101" pitchFamily="2" charset="-122"/>
              <a:ea typeface="FZSJ-YANGGNH" panose="02010600010101010101" pitchFamily="2" charset="-122"/>
            </a:endParaRPr>
          </a:p>
        </p:txBody>
      </p:sp>
      <p:sp>
        <p:nvSpPr>
          <p:cNvPr id="37" name="矩形 1"/>
          <p:cNvSpPr>
            <a:spLocks noChangeArrowheads="1"/>
          </p:cNvSpPr>
          <p:nvPr/>
        </p:nvSpPr>
        <p:spPr bwMode="auto">
          <a:xfrm>
            <a:off x="6152590" y="1794445"/>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FZSJ-YANGGNH" panose="02010600010101010101" pitchFamily="2" charset="-122"/>
                <a:ea typeface="FZSJ-YANGGNH" panose="02010600010101010101" pitchFamily="2" charset="-122"/>
              </a:rPr>
              <a:t>点击输入简要文字内容，文字内容需概括精炼，不用多余的文字修饰，言简意赅的说明分项内容。</a:t>
            </a:r>
            <a:endParaRPr lang="en-US" altLang="zh-CN" sz="1200" dirty="0">
              <a:solidFill>
                <a:schemeClr val="accent1"/>
              </a:solidFill>
              <a:latin typeface="FZSJ-YANGGNH" panose="02010600010101010101" pitchFamily="2" charset="-122"/>
              <a:ea typeface="FZSJ-YANGGNH" panose="02010600010101010101" pitchFamily="2" charset="-122"/>
            </a:endParaRPr>
          </a:p>
        </p:txBody>
      </p:sp>
      <p:sp>
        <p:nvSpPr>
          <p:cNvPr id="38" name="矩形 1"/>
          <p:cNvSpPr>
            <a:spLocks noChangeArrowheads="1"/>
          </p:cNvSpPr>
          <p:nvPr/>
        </p:nvSpPr>
        <p:spPr bwMode="auto">
          <a:xfrm>
            <a:off x="6209245" y="3316247"/>
            <a:ext cx="2035163" cy="80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200" dirty="0">
                <a:solidFill>
                  <a:schemeClr val="accent1"/>
                </a:solidFill>
                <a:latin typeface="FZSJ-YANGGNH" panose="02010600010101010101" pitchFamily="2" charset="-122"/>
                <a:ea typeface="FZSJ-YANGGNH" panose="02010600010101010101" pitchFamily="2" charset="-122"/>
              </a:rPr>
              <a:t>点击输入简要文字内容，文字内容需概括精炼，不用多余的文字修饰，言简意赅的说明分项内容。</a:t>
            </a:r>
            <a:endParaRPr lang="en-US" altLang="zh-CN" sz="1200" dirty="0">
              <a:solidFill>
                <a:schemeClr val="accent1"/>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269332283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wipe(right)">
                                      <p:cBhvr>
                                        <p:cTn id="13" dur="500"/>
                                        <p:tgtEl>
                                          <p:spTgt spid="23"/>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up)">
                                      <p:cBhvr>
                                        <p:cTn id="21" dur="500"/>
                                        <p:tgtEl>
                                          <p:spTgt spid="35"/>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500"/>
                                        <p:tgtEl>
                                          <p:spTgt spid="2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3000"/>
                            </p:stCondLst>
                            <p:childTnLst>
                              <p:par>
                                <p:cTn id="31" presetID="22" presetClass="entr" presetSubtype="1"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up)">
                                      <p:cBhvr>
                                        <p:cTn id="33" dur="500"/>
                                        <p:tgtEl>
                                          <p:spTgt spid="37"/>
                                        </p:tgtEl>
                                      </p:cBhvr>
                                    </p:animEffect>
                                  </p:childTnLst>
                                </p:cTn>
                              </p:par>
                            </p:childTnLst>
                          </p:cTn>
                        </p:par>
                        <p:par>
                          <p:cTn id="34" fill="hold">
                            <p:stCondLst>
                              <p:cond delay="3500"/>
                            </p:stCondLst>
                            <p:childTnLst>
                              <p:par>
                                <p:cTn id="35" presetID="22" presetClass="entr" presetSubtype="2" fill="hold"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right)">
                                      <p:cBhvr>
                                        <p:cTn id="37" dur="500"/>
                                        <p:tgtEl>
                                          <p:spTgt spid="32"/>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left)">
                                      <p:cBhvr>
                                        <p:cTn id="41" dur="500"/>
                                        <p:tgtEl>
                                          <p:spTgt spid="22"/>
                                        </p:tgtEl>
                                      </p:cBhvr>
                                    </p:animEffect>
                                  </p:childTnLst>
                                </p:cTn>
                              </p:par>
                            </p:childTnLst>
                          </p:cTn>
                        </p:par>
                        <p:par>
                          <p:cTn id="42" fill="hold">
                            <p:stCondLst>
                              <p:cond delay="4500"/>
                            </p:stCondLst>
                            <p:childTnLst>
                              <p:par>
                                <p:cTn id="43" presetID="22" presetClass="entr" presetSubtype="1" fill="hold" grpId="0" nodeType="after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up)">
                                      <p:cBhvr>
                                        <p:cTn id="45" dur="500"/>
                                        <p:tgtEl>
                                          <p:spTgt spid="36"/>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p:stCondLst>
                              <p:cond delay="5500"/>
                            </p:stCondLst>
                            <p:childTnLst>
                              <p:par>
                                <p:cTn id="51" presetID="22" presetClass="entr" presetSubtype="8"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6000"/>
                            </p:stCondLst>
                            <p:childTnLst>
                              <p:par>
                                <p:cTn id="55" presetID="22" presetClass="entr" presetSubtype="1" fill="hold" grpId="0"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wipe(up)">
                                      <p:cBhvr>
                                        <p:cTn id="5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35" grpId="0"/>
      <p:bldP spid="36" grpId="0"/>
      <p:bldP spid="37"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18"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sp>
        <p:nvSpPr>
          <p:cNvPr id="23" name="TextBox 40"/>
          <p:cNvSpPr txBox="1"/>
          <p:nvPr/>
        </p:nvSpPr>
        <p:spPr>
          <a:xfrm>
            <a:off x="5943280" y="1605444"/>
            <a:ext cx="1581134"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rPr>
              <a:t>单击此处添加文本</a:t>
            </a: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endParaRPr>
          </a:p>
        </p:txBody>
      </p:sp>
      <p:sp>
        <p:nvSpPr>
          <p:cNvPr id="24" name="TextBox 42"/>
          <p:cNvSpPr txBox="1"/>
          <p:nvPr/>
        </p:nvSpPr>
        <p:spPr>
          <a:xfrm>
            <a:off x="5976156" y="2571750"/>
            <a:ext cx="1548258"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rPr>
              <a:t>单击此处添加文本</a:t>
            </a:r>
            <a:endParaRPr lang="en-US" altLang="zh-CN"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endParaRPr>
          </a:p>
        </p:txBody>
      </p:sp>
      <p:sp>
        <p:nvSpPr>
          <p:cNvPr id="25" name="TextBox 43"/>
          <p:cNvSpPr txBox="1"/>
          <p:nvPr/>
        </p:nvSpPr>
        <p:spPr>
          <a:xfrm>
            <a:off x="5952469" y="3651870"/>
            <a:ext cx="1431239"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rPr>
              <a:t>单击此处添加文本</a:t>
            </a:r>
            <a:endParaRPr lang="en-US" altLang="zh-CN" sz="1350" spc="-38" dirty="0">
              <a:solidFill>
                <a:schemeClr val="accent1"/>
              </a:solidFill>
              <a:latin typeface="FZSJ-YANGGNH" panose="02010600010101010101" pitchFamily="2" charset="-122"/>
              <a:ea typeface="FZSJ-YANGGNH" panose="02010600010101010101" pitchFamily="2" charset="-122"/>
              <a:cs typeface="Segoe UI" pitchFamily="34" charset="0"/>
              <a:sym typeface="Wingdings" pitchFamily="2" charset="2"/>
            </a:endParaRP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FZSJ-YANGGNH" panose="02010600010101010101" pitchFamily="2" charset="-122"/>
                <a:ea typeface="FZSJ-YANGGNH" panose="02010600010101010101" pitchFamily="2" charset="-122"/>
                <a:cs typeface="Segoe UI" pitchFamily="34" charset="0"/>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36"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34"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sp>
            <p:nvSpPr>
              <p:cNvPr id="31"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32"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FZSJ-YANGGNH" panose="02010600010101010101" pitchFamily="2" charset="-122"/>
                <a:ea typeface="FZSJ-YANGGNH" panose="02010600010101010101" pitchFamily="2" charset="-122"/>
                <a:cs typeface="Segoe UI"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sp>
        <p:nvSpPr>
          <p:cNvPr id="48" name="Right Brace 112"/>
          <p:cNvSpPr/>
          <p:nvPr/>
        </p:nvSpPr>
        <p:spPr>
          <a:xfrm rot="10800000">
            <a:off x="4613367" y="1520181"/>
            <a:ext cx="427545" cy="2258569"/>
          </a:xfrm>
          <a:prstGeom prst="rightBrace">
            <a:avLst>
              <a:gd name="adj1" fmla="val 47292"/>
              <a:gd name="adj2" fmla="val 5011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233"/>
            <a:endParaRPr lang="en-US" sz="1350">
              <a:solidFill>
                <a:schemeClr val="accent1"/>
              </a:solidFill>
              <a:latin typeface="FZSJ-YANGGNH" panose="02010600010101010101" pitchFamily="2" charset="-122"/>
              <a:ea typeface="FZSJ-YANGGNH" panose="02010600010101010101" pitchFamily="2" charset="-122"/>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59"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57"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sp>
            <p:nvSpPr>
              <p:cNvPr id="54"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55"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FZSJ-YANGGNH" panose="02010600010101010101" pitchFamily="2" charset="-122"/>
                  <a:ea typeface="FZSJ-YANGGNH" panose="02010600010101010101" pitchFamily="2" charset="-122"/>
                  <a:cs typeface="Segoe UI" pitchFamily="34" charset="0"/>
                </a:endParaRPr>
              </a:p>
            </p:txBody>
          </p:sp>
        </p:grpSp>
      </p:grpSp>
      <p:grpSp>
        <p:nvGrpSpPr>
          <p:cNvPr id="60" name="组合 59"/>
          <p:cNvGrpSpPr/>
          <p:nvPr/>
        </p:nvGrpSpPr>
        <p:grpSpPr>
          <a:xfrm>
            <a:off x="2274252" y="2001510"/>
            <a:ext cx="1689711" cy="1267531"/>
            <a:chOff x="1508336" y="2668679"/>
            <a:chExt cx="2252948" cy="1690040"/>
          </a:xfrm>
        </p:grpSpPr>
        <p:sp>
          <p:nvSpPr>
            <p:cNvPr id="61" name="Rectangle 56"/>
            <p:cNvSpPr/>
            <p:nvPr/>
          </p:nvSpPr>
          <p:spPr>
            <a:xfrm>
              <a:off x="1530811" y="2668679"/>
              <a:ext cx="2138983" cy="384721"/>
            </a:xfrm>
            <a:prstGeom prst="rect">
              <a:avLst/>
            </a:prstGeom>
            <a:noFill/>
            <a:ln>
              <a:noFill/>
            </a:ln>
          </p:spPr>
          <p:txBody>
            <a:bodyPr wrap="square">
              <a:spAutoFit/>
            </a:bodyPr>
            <a:lstStyle/>
            <a:p>
              <a:pPr algn="ctr" defTabSz="698894" fontAlgn="base">
                <a:lnSpc>
                  <a:spcPct val="85000"/>
                </a:lnSpc>
                <a:spcBef>
                  <a:spcPct val="0"/>
                </a:spcBef>
                <a:spcAft>
                  <a:spcPct val="0"/>
                </a:spcAft>
              </a:pPr>
              <a:r>
                <a:rPr lang="zh-CN" altLang="en-US" sz="1500" b="1" dirty="0">
                  <a:solidFill>
                    <a:schemeClr val="accent1"/>
                  </a:solidFill>
                  <a:latin typeface="FZSJ-YANGGNH" panose="02010600010101010101" pitchFamily="2" charset="-122"/>
                  <a:ea typeface="FZSJ-YANGGNH" panose="02010600010101010101" pitchFamily="2" charset="-122"/>
                  <a:cs typeface="Segoe UI" pitchFamily="34" charset="0"/>
                </a:rPr>
                <a:t>单击添加文本</a:t>
              </a:r>
              <a:endParaRPr lang="en-US" altLang="zh-CN" sz="1500" b="1" dirty="0">
                <a:solidFill>
                  <a:schemeClr val="accent1"/>
                </a:solidFill>
                <a:latin typeface="FZSJ-YANGGNH" panose="02010600010101010101" pitchFamily="2" charset="-122"/>
                <a:ea typeface="FZSJ-YANGGNH" panose="02010600010101010101" pitchFamily="2" charset="-122"/>
                <a:cs typeface="Segoe UI" pitchFamily="34" charset="0"/>
              </a:endParaRPr>
            </a:p>
          </p:txBody>
        </p:sp>
        <p:sp>
          <p:nvSpPr>
            <p:cNvPr id="62" name="矩形 61"/>
            <p:cNvSpPr/>
            <p:nvPr/>
          </p:nvSpPr>
          <p:spPr>
            <a:xfrm>
              <a:off x="1508336" y="3250724"/>
              <a:ext cx="2252948" cy="1107995"/>
            </a:xfrm>
            <a:prstGeom prst="rect">
              <a:avLst/>
            </a:prstGeom>
          </p:spPr>
          <p:txBody>
            <a:bodyPr wrap="square">
              <a:spAutoFit/>
            </a:bodyPr>
            <a:lstStyle/>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p>
          </p:txBody>
        </p:sp>
      </p:grpSp>
    </p:spTree>
    <p:extLst>
      <p:ext uri="{BB962C8B-B14F-4D97-AF65-F5344CB8AC3E}">
        <p14:creationId xmlns:p14="http://schemas.microsoft.com/office/powerpoint/2010/main" val="23209166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22" presetClass="entr" presetSubtype="1" fill="hold" nodeType="withEffect">
                                  <p:stCondLst>
                                    <p:cond delay="400"/>
                                  </p:stCondLst>
                                  <p:childTnLst>
                                    <p:set>
                                      <p:cBhvr>
                                        <p:cTn id="11" dur="1" fill="hold">
                                          <p:stCondLst>
                                            <p:cond delay="0"/>
                                          </p:stCondLst>
                                        </p:cTn>
                                        <p:tgtEl>
                                          <p:spTgt spid="60"/>
                                        </p:tgtEl>
                                        <p:attrNameLst>
                                          <p:attrName>style.visibility</p:attrName>
                                        </p:attrNameLst>
                                      </p:cBhvr>
                                      <p:to>
                                        <p:strVal val="visible"/>
                                      </p:to>
                                    </p:set>
                                    <p:animEffect transition="in" filter="wipe(up)">
                                      <p:cBhvr>
                                        <p:cTn id="12" dur="500"/>
                                        <p:tgtEl>
                                          <p:spTgt spid="60"/>
                                        </p:tgtEl>
                                      </p:cBhvr>
                                    </p:animEffect>
                                  </p:childTnLst>
                                </p:cTn>
                              </p:par>
                            </p:childTnLst>
                          </p:cTn>
                        </p:par>
                        <p:par>
                          <p:cTn id="13" fill="hold">
                            <p:stCondLst>
                              <p:cond delay="900"/>
                            </p:stCondLst>
                            <p:childTnLst>
                              <p:par>
                                <p:cTn id="14" presetID="22" presetClass="entr" presetSubtype="8"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left)">
                                      <p:cBhvr>
                                        <p:cTn id="16" dur="500"/>
                                        <p:tgtEl>
                                          <p:spTgt spid="48"/>
                                        </p:tgtEl>
                                      </p:cBhvr>
                                    </p:animEffect>
                                  </p:childTnLst>
                                </p:cTn>
                              </p:par>
                              <p:par>
                                <p:cTn id="17" presetID="10" presetClass="entr" presetSubtype="0" fill="hold" nodeType="withEffect">
                                  <p:stCondLst>
                                    <p:cond delay="75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750"/>
                                        <p:tgtEl>
                                          <p:spTgt spid="49"/>
                                        </p:tgtEl>
                                      </p:cBhvr>
                                    </p:animEffect>
                                  </p:childTnLst>
                                </p:cTn>
                              </p:par>
                              <p:par>
                                <p:cTn id="20" presetID="63" presetClass="path" presetSubtype="0" decel="100000" fill="hold" nodeType="withEffect">
                                  <p:stCondLst>
                                    <p:cond delay="750"/>
                                  </p:stCondLst>
                                  <p:childTnLst>
                                    <p:animMotion origin="layout" path="M -0.02412 1.91103E-6 L -2.91805E-6 1.91103E-6 " pathEditMode="relative" rAng="0" ptsTypes="AA">
                                      <p:cBhvr>
                                        <p:cTn id="21" dur="500" fill="hold"/>
                                        <p:tgtEl>
                                          <p:spTgt spid="49"/>
                                        </p:tgtEl>
                                        <p:attrNameLst>
                                          <p:attrName>ppt_x</p:attrName>
                                          <p:attrName>ppt_y</p:attrName>
                                        </p:attrNameLst>
                                      </p:cBhvr>
                                      <p:rCtr x="1200" y="0"/>
                                    </p:animMotion>
                                  </p:childTnLst>
                                </p:cTn>
                              </p:par>
                              <p:par>
                                <p:cTn id="22" presetID="6" presetClass="emph" presetSubtype="0" accel="100000" autoRev="1" fill="hold" nodeType="withEffect">
                                  <p:stCondLst>
                                    <p:cond delay="250"/>
                                  </p:stCondLst>
                                  <p:childTnLst>
                                    <p:animScale>
                                      <p:cBhvr>
                                        <p:cTn id="23" dur="500" fill="hold"/>
                                        <p:tgtEl>
                                          <p:spTgt spid="49"/>
                                        </p:tgtEl>
                                      </p:cBhvr>
                                      <p:by x="92000" y="92000"/>
                                    </p:animScale>
                                  </p:childTnLst>
                                </p:cTn>
                              </p:par>
                              <p:par>
                                <p:cTn id="24" presetID="10" presetClass="entr" presetSubtype="0" fill="hold" grpId="0" nodeType="withEffect">
                                  <p:stCondLst>
                                    <p:cond delay="5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750"/>
                                        <p:tgtEl>
                                          <p:spTgt spid="23"/>
                                        </p:tgtEl>
                                      </p:cBhvr>
                                    </p:animEffect>
                                  </p:childTnLst>
                                </p:cTn>
                              </p:par>
                              <p:par>
                                <p:cTn id="27" presetID="63" presetClass="path" presetSubtype="0" decel="100000" fill="hold" grpId="1" nodeType="withEffect">
                                  <p:stCondLst>
                                    <p:cond delay="600"/>
                                  </p:stCondLst>
                                  <p:childTnLst>
                                    <p:animMotion origin="layout" path="M -0.02413 1.91103E-6 L 7.50574E-7 1.91103E-6 " pathEditMode="relative" rAng="0" ptsTypes="AA">
                                      <p:cBhvr>
                                        <p:cTn id="28" dur="500" fill="hold"/>
                                        <p:tgtEl>
                                          <p:spTgt spid="23"/>
                                        </p:tgtEl>
                                        <p:attrNameLst>
                                          <p:attrName>ppt_x</p:attrName>
                                          <p:attrName>ppt_y</p:attrName>
                                        </p:attrNameLst>
                                      </p:cBhvr>
                                      <p:rCtr x="1200" y="0"/>
                                    </p:animMotion>
                                  </p:childTnLst>
                                </p:cTn>
                              </p:par>
                              <p:par>
                                <p:cTn id="29" presetID="6" presetClass="emph" presetSubtype="0" accel="100000" autoRev="1" fill="hold" grpId="2" nodeType="withEffect">
                                  <p:stCondLst>
                                    <p:cond delay="50"/>
                                  </p:stCondLst>
                                  <p:childTnLst>
                                    <p:animScale>
                                      <p:cBhvr>
                                        <p:cTn id="30" dur="500" fill="hold"/>
                                        <p:tgtEl>
                                          <p:spTgt spid="23"/>
                                        </p:tgtEl>
                                      </p:cBhvr>
                                      <p:by x="92000" y="92000"/>
                                    </p:animScale>
                                  </p:childTnLst>
                                </p:cTn>
                              </p:par>
                              <p:par>
                                <p:cTn id="31" presetID="10" presetClass="entr" presetSubtype="0" fill="hold" nodeType="withEffect">
                                  <p:stCondLst>
                                    <p:cond delay="75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750"/>
                                        <p:tgtEl>
                                          <p:spTgt spid="26"/>
                                        </p:tgtEl>
                                      </p:cBhvr>
                                    </p:animEffect>
                                  </p:childTnLst>
                                </p:cTn>
                              </p:par>
                              <p:par>
                                <p:cTn id="34" presetID="63" presetClass="path" presetSubtype="0" decel="100000" fill="hold" nodeType="withEffect">
                                  <p:stCondLst>
                                    <p:cond delay="750"/>
                                  </p:stCondLst>
                                  <p:childTnLst>
                                    <p:animMotion origin="layout" path="M -0.02412 1.91103E-6 L -2.15216E-6 1.91103E-6 " pathEditMode="relative" rAng="0" ptsTypes="AA">
                                      <p:cBhvr>
                                        <p:cTn id="35" dur="500" fill="hold"/>
                                        <p:tgtEl>
                                          <p:spTgt spid="26"/>
                                        </p:tgtEl>
                                        <p:attrNameLst>
                                          <p:attrName>ppt_x</p:attrName>
                                          <p:attrName>ppt_y</p:attrName>
                                        </p:attrNameLst>
                                      </p:cBhvr>
                                      <p:rCtr x="1200" y="0"/>
                                    </p:animMotion>
                                  </p:childTnLst>
                                </p:cTn>
                              </p:par>
                              <p:par>
                                <p:cTn id="36" presetID="6" presetClass="emph" presetSubtype="0" accel="100000" autoRev="1" fill="hold" nodeType="withEffect">
                                  <p:stCondLst>
                                    <p:cond delay="250"/>
                                  </p:stCondLst>
                                  <p:childTnLst>
                                    <p:animScale>
                                      <p:cBhvr>
                                        <p:cTn id="37" dur="500" fill="hold"/>
                                        <p:tgtEl>
                                          <p:spTgt spid="26"/>
                                        </p:tgtEl>
                                      </p:cBhvr>
                                      <p:by x="92000" y="92000"/>
                                    </p:animScale>
                                  </p:childTnLst>
                                </p:cTn>
                              </p:par>
                              <p:par>
                                <p:cTn id="38" presetID="10" presetClass="entr" presetSubtype="0" fill="hold" grpId="0" nodeType="withEffect">
                                  <p:stCondLst>
                                    <p:cond delay="80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750"/>
                                        <p:tgtEl>
                                          <p:spTgt spid="24"/>
                                        </p:tgtEl>
                                      </p:cBhvr>
                                    </p:animEffect>
                                  </p:childTnLst>
                                </p:cTn>
                              </p:par>
                              <p:par>
                                <p:cTn id="41" presetID="63" presetClass="path" presetSubtype="0" decel="100000" fill="hold" grpId="1" nodeType="withEffect">
                                  <p:stCondLst>
                                    <p:cond delay="800"/>
                                  </p:stCondLst>
                                  <p:childTnLst>
                                    <p:animMotion origin="layout" path="M -0.02412 1.91103E-6 L -3.32653E-6 1.91103E-6 " pathEditMode="relative" rAng="0" ptsTypes="AA">
                                      <p:cBhvr>
                                        <p:cTn id="42" dur="500" fill="hold"/>
                                        <p:tgtEl>
                                          <p:spTgt spid="24"/>
                                        </p:tgtEl>
                                        <p:attrNameLst>
                                          <p:attrName>ppt_x</p:attrName>
                                          <p:attrName>ppt_y</p:attrName>
                                        </p:attrNameLst>
                                      </p:cBhvr>
                                      <p:rCtr x="1200" y="0"/>
                                    </p:animMotion>
                                  </p:childTnLst>
                                </p:cTn>
                              </p:par>
                              <p:par>
                                <p:cTn id="43" presetID="6" presetClass="emph" presetSubtype="0" accel="100000" autoRev="1" fill="hold" grpId="2" nodeType="withEffect">
                                  <p:stCondLst>
                                    <p:cond delay="300"/>
                                  </p:stCondLst>
                                  <p:childTnLst>
                                    <p:animScale>
                                      <p:cBhvr>
                                        <p:cTn id="44" dur="500" fill="hold"/>
                                        <p:tgtEl>
                                          <p:spTgt spid="24"/>
                                        </p:tgtEl>
                                      </p:cBhvr>
                                      <p:by x="92000" y="92000"/>
                                    </p:animScale>
                                  </p:childTnLst>
                                </p:cTn>
                              </p:par>
                              <p:par>
                                <p:cTn id="45" presetID="10" presetClass="entr" presetSubtype="0" fill="hold" nodeType="withEffect">
                                  <p:stCondLst>
                                    <p:cond delay="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750"/>
                                        <p:tgtEl>
                                          <p:spTgt spid="37"/>
                                        </p:tgtEl>
                                      </p:cBhvr>
                                    </p:animEffect>
                                  </p:childTnLst>
                                </p:cTn>
                              </p:par>
                              <p:par>
                                <p:cTn id="48" presetID="63" presetClass="path" presetSubtype="0" decel="100000" fill="hold" nodeType="withEffect">
                                  <p:stCondLst>
                                    <p:cond delay="800"/>
                                  </p:stCondLst>
                                  <p:childTnLst>
                                    <p:animMotion origin="layout" path="M -0.02412 -2.38765E-6 L -2.15216E-6 -2.38765E-6 " pathEditMode="relative" rAng="0" ptsTypes="AA">
                                      <p:cBhvr>
                                        <p:cTn id="49" dur="500" fill="hold"/>
                                        <p:tgtEl>
                                          <p:spTgt spid="37"/>
                                        </p:tgtEl>
                                        <p:attrNameLst>
                                          <p:attrName>ppt_x</p:attrName>
                                          <p:attrName>ppt_y</p:attrName>
                                        </p:attrNameLst>
                                      </p:cBhvr>
                                      <p:rCtr x="1200" y="0"/>
                                    </p:animMotion>
                                  </p:childTnLst>
                                </p:cTn>
                              </p:par>
                              <p:par>
                                <p:cTn id="50" presetID="6" presetClass="emph" presetSubtype="0" accel="100000" autoRev="1" fill="hold" nodeType="withEffect">
                                  <p:stCondLst>
                                    <p:cond delay="300"/>
                                  </p:stCondLst>
                                  <p:childTnLst>
                                    <p:animScale>
                                      <p:cBhvr>
                                        <p:cTn id="51" dur="500" fill="hold"/>
                                        <p:tgtEl>
                                          <p:spTgt spid="37"/>
                                        </p:tgtEl>
                                      </p:cBhvr>
                                      <p:by x="92000" y="92000"/>
                                    </p:animScale>
                                  </p:childTnLst>
                                </p:cTn>
                              </p:par>
                              <p:par>
                                <p:cTn id="52" presetID="10" presetClass="entr" presetSubtype="0" fill="hold" grpId="0" nodeType="withEffect">
                                  <p:stCondLst>
                                    <p:cond delay="900"/>
                                  </p:stCondLst>
                                  <p:childTnLst>
                                    <p:set>
                                      <p:cBhvr>
                                        <p:cTn id="53" dur="1" fill="hold">
                                          <p:stCondLst>
                                            <p:cond delay="0"/>
                                          </p:stCondLst>
                                        </p:cTn>
                                        <p:tgtEl>
                                          <p:spTgt spid="25"/>
                                        </p:tgtEl>
                                        <p:attrNameLst>
                                          <p:attrName>style.visibility</p:attrName>
                                        </p:attrNameLst>
                                      </p:cBhvr>
                                      <p:to>
                                        <p:strVal val="visible"/>
                                      </p:to>
                                    </p:set>
                                    <p:animEffect transition="in" filter="fade">
                                      <p:cBhvr>
                                        <p:cTn id="54" dur="750"/>
                                        <p:tgtEl>
                                          <p:spTgt spid="25"/>
                                        </p:tgtEl>
                                      </p:cBhvr>
                                    </p:animEffect>
                                  </p:childTnLst>
                                </p:cTn>
                              </p:par>
                              <p:par>
                                <p:cTn id="55" presetID="63" presetClass="path" presetSubtype="0" decel="100000" fill="hold" grpId="1" nodeType="withEffect">
                                  <p:stCondLst>
                                    <p:cond delay="900"/>
                                  </p:stCondLst>
                                  <p:childTnLst>
                                    <p:animMotion origin="layout" path="M -0.02412 6.49115E-7 L -7.50574E-7 6.49115E-7 " pathEditMode="relative" rAng="0" ptsTypes="AA">
                                      <p:cBhvr>
                                        <p:cTn id="56" dur="500" fill="hold"/>
                                        <p:tgtEl>
                                          <p:spTgt spid="25"/>
                                        </p:tgtEl>
                                        <p:attrNameLst>
                                          <p:attrName>ppt_x</p:attrName>
                                          <p:attrName>ppt_y</p:attrName>
                                        </p:attrNameLst>
                                      </p:cBhvr>
                                      <p:rCtr x="1200" y="0"/>
                                    </p:animMotion>
                                  </p:childTnLst>
                                </p:cTn>
                              </p:par>
                              <p:par>
                                <p:cTn id="57" presetID="6" presetClass="emph" presetSubtype="0" accel="100000" autoRev="1" fill="hold" grpId="2" nodeType="withEffect">
                                  <p:stCondLst>
                                    <p:cond delay="400"/>
                                  </p:stCondLst>
                                  <p:childTnLst>
                                    <p:animScale>
                                      <p:cBhvr>
                                        <p:cTn id="58" dur="500" fill="hold"/>
                                        <p:tgtEl>
                                          <p:spTgt spid="2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3" grpId="2"/>
      <p:bldP spid="24" grpId="0"/>
      <p:bldP spid="24" grpId="1"/>
      <p:bldP spid="24" grpId="2"/>
      <p:bldP spid="25" grpId="0"/>
      <p:bldP spid="25" grpId="1"/>
      <p:bldP spid="25" grpId="2"/>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3915347" y="855560"/>
            <a:ext cx="1358730" cy="918102"/>
            <a:chOff x="3696463" y="1140746"/>
            <a:chExt cx="1811640" cy="1224136"/>
          </a:xfrm>
        </p:grpSpPr>
        <p:sp>
          <p:nvSpPr>
            <p:cNvPr id="33" name="五边形 32"/>
            <p:cNvSpPr/>
            <p:nvPr/>
          </p:nvSpPr>
          <p:spPr>
            <a:xfrm rot="16200000">
              <a:off x="3990215" y="846994"/>
              <a:ext cx="1224136" cy="1811640"/>
            </a:xfrm>
            <a:prstGeom prst="homePlate">
              <a:avLst>
                <a:gd name="adj" fmla="val 310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solidFill>
                  <a:schemeClr val="accent1"/>
                </a:solidFill>
                <a:latin typeface="FZSJ-YANGGNH" panose="02010600010101010101" pitchFamily="2" charset="-122"/>
                <a:ea typeface="FZSJ-YANGGNH" panose="02010600010101010101" pitchFamily="2" charset="-122"/>
              </a:endParaRPr>
            </a:p>
          </p:txBody>
        </p:sp>
        <p:sp>
          <p:nvSpPr>
            <p:cNvPr id="34" name="TextBox 4"/>
            <p:cNvSpPr txBox="1"/>
            <p:nvPr/>
          </p:nvSpPr>
          <p:spPr>
            <a:xfrm>
              <a:off x="4139952" y="1644801"/>
              <a:ext cx="1049837" cy="492443"/>
            </a:xfrm>
            <a:prstGeom prst="rect">
              <a:avLst/>
            </a:prstGeom>
            <a:noFill/>
          </p:spPr>
          <p:txBody>
            <a:bodyPr wrap="square" rtlCol="0">
              <a:spAutoFit/>
            </a:bodyPr>
            <a:lstStyle/>
            <a:p>
              <a:pPr algn="ctr"/>
              <a:r>
                <a:rPr lang="en-US" altLang="zh-CN" dirty="0">
                  <a:solidFill>
                    <a:schemeClr val="accent2"/>
                  </a:solidFill>
                  <a:latin typeface="FZSJ-YANGGNH" panose="02010600010101010101" pitchFamily="2" charset="-122"/>
                  <a:ea typeface="FZSJ-YANGGNH" panose="02010600010101010101" pitchFamily="2" charset="-122"/>
                </a:rPr>
                <a:t>20%</a:t>
              </a:r>
              <a:endParaRPr lang="zh-CN" altLang="en-US" dirty="0">
                <a:solidFill>
                  <a:schemeClr val="accent2"/>
                </a:solidFill>
                <a:latin typeface="FZSJ-YANGGNH" panose="02010600010101010101" pitchFamily="2" charset="-122"/>
                <a:ea typeface="FZSJ-YANGGNH" panose="02010600010101010101" pitchFamily="2" charset="-122"/>
              </a:endParaRPr>
            </a:p>
          </p:txBody>
        </p:sp>
      </p:grpSp>
      <p:grpSp>
        <p:nvGrpSpPr>
          <p:cNvPr id="35" name="组合 34"/>
          <p:cNvGrpSpPr/>
          <p:nvPr/>
        </p:nvGrpSpPr>
        <p:grpSpPr>
          <a:xfrm>
            <a:off x="3915348" y="1881674"/>
            <a:ext cx="1358730" cy="1770196"/>
            <a:chOff x="3696464" y="2508898"/>
            <a:chExt cx="1811640" cy="2360261"/>
          </a:xfrm>
        </p:grpSpPr>
        <p:sp>
          <p:nvSpPr>
            <p:cNvPr id="36" name="五边形 35"/>
            <p:cNvSpPr/>
            <p:nvPr/>
          </p:nvSpPr>
          <p:spPr>
            <a:xfrm rot="5400000">
              <a:off x="3422153" y="2783209"/>
              <a:ext cx="2360261" cy="1811640"/>
            </a:xfrm>
            <a:prstGeom prst="homePlate">
              <a:avLst>
                <a:gd name="adj" fmla="val 275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FZSJ-YANGGNH" panose="02010600010101010101" pitchFamily="2" charset="-122"/>
                <a:ea typeface="FZSJ-YANGGNH" panose="02010600010101010101" pitchFamily="2" charset="-122"/>
              </a:endParaRPr>
            </a:p>
          </p:txBody>
        </p:sp>
        <p:sp>
          <p:nvSpPr>
            <p:cNvPr id="37" name="TextBox 5"/>
            <p:cNvSpPr txBox="1"/>
            <p:nvPr/>
          </p:nvSpPr>
          <p:spPr>
            <a:xfrm>
              <a:off x="4077364" y="2767313"/>
              <a:ext cx="1049837" cy="492443"/>
            </a:xfrm>
            <a:prstGeom prst="rect">
              <a:avLst/>
            </a:prstGeom>
            <a:noFill/>
          </p:spPr>
          <p:txBody>
            <a:bodyPr wrap="square" rtlCol="0">
              <a:spAutoFit/>
            </a:bodyPr>
            <a:lstStyle/>
            <a:p>
              <a:pPr algn="ctr"/>
              <a:r>
                <a:rPr lang="en-US" altLang="zh-CN" dirty="0">
                  <a:solidFill>
                    <a:schemeClr val="accent2"/>
                  </a:solidFill>
                  <a:latin typeface="FZSJ-YANGGNH" panose="02010600010101010101" pitchFamily="2" charset="-122"/>
                  <a:ea typeface="FZSJ-YANGGNH" panose="02010600010101010101" pitchFamily="2" charset="-122"/>
                </a:rPr>
                <a:t>80%</a:t>
              </a:r>
              <a:endParaRPr lang="zh-CN" altLang="en-US" dirty="0">
                <a:solidFill>
                  <a:schemeClr val="accent2"/>
                </a:solidFill>
                <a:latin typeface="FZSJ-YANGGNH" panose="02010600010101010101" pitchFamily="2" charset="-122"/>
                <a:ea typeface="FZSJ-YANGGNH" panose="02010600010101010101" pitchFamily="2" charset="-122"/>
              </a:endParaRPr>
            </a:p>
          </p:txBody>
        </p:sp>
      </p:grpSp>
      <p:sp>
        <p:nvSpPr>
          <p:cNvPr id="38" name="矩形 37"/>
          <p:cNvSpPr/>
          <p:nvPr/>
        </p:nvSpPr>
        <p:spPr>
          <a:xfrm>
            <a:off x="3915347" y="2523212"/>
            <a:ext cx="1358730" cy="830997"/>
          </a:xfrm>
          <a:prstGeom prst="rect">
            <a:avLst/>
          </a:prstGeom>
        </p:spPr>
        <p:txBody>
          <a:bodyPr wrap="square">
            <a:spAutoFit/>
          </a:bodyPr>
          <a:lstStyle/>
          <a:p>
            <a:pPr lvl="0" algn="ctr"/>
            <a:r>
              <a:rPr lang="zh-CN" altLang="en-US" sz="1200" dirty="0">
                <a:solidFill>
                  <a:schemeClr val="accent2"/>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2"/>
              </a:solidFill>
              <a:latin typeface="FZSJ-YANGGNH" panose="02010600010101010101" pitchFamily="2" charset="-122"/>
              <a:ea typeface="FZSJ-YANGGNH" panose="02010600010101010101" pitchFamily="2" charset="-122"/>
            </a:endParaRPr>
          </a:p>
          <a:p>
            <a:pPr lvl="0" algn="ctr"/>
            <a:r>
              <a:rPr lang="zh-CN" altLang="en-US" sz="1200" dirty="0">
                <a:solidFill>
                  <a:schemeClr val="accent2"/>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2"/>
              </a:solidFill>
              <a:latin typeface="FZSJ-YANGGNH" panose="02010600010101010101" pitchFamily="2" charset="-122"/>
              <a:ea typeface="FZSJ-YANGGNH" panose="02010600010101010101" pitchFamily="2" charset="-122"/>
            </a:endParaRPr>
          </a:p>
        </p:txBody>
      </p:sp>
      <p:grpSp>
        <p:nvGrpSpPr>
          <p:cNvPr id="39" name="组合 38"/>
          <p:cNvGrpSpPr/>
          <p:nvPr/>
        </p:nvGrpSpPr>
        <p:grpSpPr>
          <a:xfrm>
            <a:off x="1839144" y="1132989"/>
            <a:ext cx="1689713" cy="327719"/>
            <a:chOff x="928192" y="1510651"/>
            <a:chExt cx="2252950" cy="436959"/>
          </a:xfrm>
        </p:grpSpPr>
        <p:sp>
          <p:nvSpPr>
            <p:cNvPr id="40" name="矩形 3"/>
            <p:cNvSpPr/>
            <p:nvPr/>
          </p:nvSpPr>
          <p:spPr>
            <a:xfrm rot="5400000" flipH="1" flipV="1">
              <a:off x="1849649" y="589194"/>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FZSJ-YANGGNH" panose="02010600010101010101" pitchFamily="2" charset="-122"/>
                <a:ea typeface="FZSJ-YANGGNH" panose="02010600010101010101" pitchFamily="2" charset="-122"/>
              </a:endParaRPr>
            </a:p>
          </p:txBody>
        </p:sp>
        <p:sp>
          <p:nvSpPr>
            <p:cNvPr id="41" name="TextBox 7"/>
            <p:cNvSpPr txBox="1"/>
            <p:nvPr/>
          </p:nvSpPr>
          <p:spPr>
            <a:xfrm>
              <a:off x="971600" y="1547500"/>
              <a:ext cx="2108931" cy="400110"/>
            </a:xfrm>
            <a:prstGeom prst="rect">
              <a:avLst/>
            </a:prstGeom>
            <a:noFill/>
          </p:spPr>
          <p:txBody>
            <a:bodyPr wrap="square" rtlCol="0">
              <a:spAutoFit/>
            </a:bodyPr>
            <a:lstStyle/>
            <a:p>
              <a:pPr algn="ctr"/>
              <a:r>
                <a:rPr lang="zh-CN" altLang="en-US" sz="1350" b="1" dirty="0">
                  <a:solidFill>
                    <a:schemeClr val="accent2"/>
                  </a:solidFill>
                  <a:latin typeface="FZSJ-YANGGNH" panose="02010600010101010101" pitchFamily="2" charset="-122"/>
                  <a:ea typeface="FZSJ-YANGGNH" panose="02010600010101010101" pitchFamily="2" charset="-122"/>
                </a:rPr>
                <a:t>单击添加标题</a:t>
              </a:r>
            </a:p>
          </p:txBody>
        </p:sp>
      </p:grpSp>
      <p:sp>
        <p:nvSpPr>
          <p:cNvPr id="42" name="矩形 41"/>
          <p:cNvSpPr/>
          <p:nvPr/>
        </p:nvSpPr>
        <p:spPr>
          <a:xfrm>
            <a:off x="1817694" y="1554586"/>
            <a:ext cx="1689711" cy="1754326"/>
          </a:xfrm>
          <a:prstGeom prst="rect">
            <a:avLst/>
          </a:prstGeom>
        </p:spPr>
        <p:txBody>
          <a:bodyPr wrap="square">
            <a:spAutoFit/>
          </a:bodyPr>
          <a:lstStyle/>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p>
        </p:txBody>
      </p:sp>
      <p:sp>
        <p:nvSpPr>
          <p:cNvPr id="43" name="矩形 42"/>
          <p:cNvSpPr/>
          <p:nvPr/>
        </p:nvSpPr>
        <p:spPr>
          <a:xfrm>
            <a:off x="5536844" y="1113588"/>
            <a:ext cx="1689711" cy="1754326"/>
          </a:xfrm>
          <a:prstGeom prst="rect">
            <a:avLst/>
          </a:prstGeom>
        </p:spPr>
        <p:txBody>
          <a:bodyPr wrap="square">
            <a:spAutoFit/>
          </a:bodyPr>
          <a:lstStyle/>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lvl="0" algn="ctr"/>
            <a:r>
              <a:rPr lang="zh-CN" altLang="en-US" sz="1200" dirty="0">
                <a:solidFill>
                  <a:schemeClr val="accent1"/>
                </a:solidFill>
                <a:latin typeface="FZSJ-YANGGNH" panose="02010600010101010101" pitchFamily="2" charset="-122"/>
                <a:ea typeface="FZSJ-YANGGNH" panose="02010600010101010101" pitchFamily="2" charset="-122"/>
              </a:rPr>
              <a:t>单击此处添加文本</a:t>
            </a:r>
          </a:p>
        </p:txBody>
      </p:sp>
      <p:cxnSp>
        <p:nvCxnSpPr>
          <p:cNvPr id="44" name="直接连接符 43"/>
          <p:cNvCxnSpPr/>
          <p:nvPr/>
        </p:nvCxnSpPr>
        <p:spPr>
          <a:xfrm>
            <a:off x="1451647" y="3759882"/>
            <a:ext cx="62527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椭圆 44"/>
          <p:cNvSpPr/>
          <p:nvPr/>
        </p:nvSpPr>
        <p:spPr>
          <a:xfrm>
            <a:off x="2141730" y="3973765"/>
            <a:ext cx="437794" cy="4377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schemeClr val="accent1"/>
              </a:solidFill>
              <a:latin typeface="FZSJ-YANGGNH" panose="02010600010101010101" pitchFamily="2" charset="-122"/>
              <a:ea typeface="FZSJ-YANGGNH" panose="02010600010101010101" pitchFamily="2" charset="-122"/>
            </a:endParaRPr>
          </a:p>
        </p:txBody>
      </p:sp>
      <p:sp>
        <p:nvSpPr>
          <p:cNvPr id="46" name="Freeform 14"/>
          <p:cNvSpPr>
            <a:spLocks noEditPoints="1"/>
          </p:cNvSpPr>
          <p:nvPr/>
        </p:nvSpPr>
        <p:spPr bwMode="auto">
          <a:xfrm>
            <a:off x="2257873" y="4083918"/>
            <a:ext cx="205508" cy="217487"/>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38100" cap="flat" cmpd="sng" algn="ctr">
            <a:noFill/>
            <a:prstDash val="solid"/>
            <a:headEnd type="none" w="med" len="med"/>
            <a:tailEnd type="none" w="med" len="med"/>
          </a:ln>
          <a:effectLst/>
        </p:spPr>
        <p:txBody>
          <a:bodyPr vert="horz" wrap="square" lIns="51437" tIns="25719" rIns="51437" bIns="25719" numCol="1" rtlCol="0" anchor="ctr" anchorCtr="0" compatLnSpc="1">
            <a:prstTxWarp prst="textNoShape">
              <a:avLst/>
            </a:prstTxWarp>
          </a:bodyPr>
          <a:lstStyle/>
          <a:p>
            <a:pPr defTabSz="462954">
              <a:defRPr/>
            </a:pPr>
            <a:endParaRPr lang="en-US" sz="1275" kern="0" spc="-76" dirty="0">
              <a:solidFill>
                <a:schemeClr val="accent1"/>
              </a:solidFill>
              <a:latin typeface="FZSJ-YANGGNH" panose="02010600010101010101" pitchFamily="2" charset="-122"/>
              <a:ea typeface="FZSJ-YANGGNH" panose="02010600010101010101" pitchFamily="2" charset="-122"/>
            </a:endParaRPr>
          </a:p>
        </p:txBody>
      </p:sp>
      <p:sp>
        <p:nvSpPr>
          <p:cNvPr id="47" name="Rectangle 12"/>
          <p:cNvSpPr>
            <a:spLocks noChangeArrowheads="1"/>
          </p:cNvSpPr>
          <p:nvPr/>
        </p:nvSpPr>
        <p:spPr bwMode="auto">
          <a:xfrm>
            <a:off x="2693268" y="3897340"/>
            <a:ext cx="4957074" cy="646331"/>
          </a:xfrm>
          <a:prstGeom prst="rect">
            <a:avLst/>
          </a:prstGeom>
          <a:noFill/>
          <a:ln w="9525" algn="ctr">
            <a:noFill/>
            <a:miter lim="800000"/>
            <a:headEnd/>
            <a:tailEnd/>
          </a:ln>
        </p:spPr>
        <p:txBody>
          <a:bodyPr wrap="square">
            <a:spAutoFit/>
          </a:bodyPr>
          <a:lstStyle/>
          <a:p>
            <a:pPr indent="-90488" algn="ctr" fontAlgn="base">
              <a:lnSpc>
                <a:spcPct val="150000"/>
              </a:lnSpc>
              <a:spcAft>
                <a:spcPct val="0"/>
              </a:spcAft>
              <a:buClr>
                <a:srgbClr val="1F3F5F"/>
              </a:buClr>
            </a:pPr>
            <a:r>
              <a:rPr lang="zh-CN" altLang="en-US" sz="1200" dirty="0">
                <a:solidFill>
                  <a:schemeClr val="accent1"/>
                </a:solidFill>
                <a:latin typeface="FZSJ-YANGGNH" panose="02010600010101010101" pitchFamily="2" charset="-122"/>
                <a:ea typeface="FZSJ-YANGGNH" panose="02010600010101010101" pitchFamily="2" charset="-122"/>
              </a:rPr>
              <a:t>单击此处添加文本，单击此处添加文本，单击此处添加文本。</a:t>
            </a:r>
            <a:endParaRPr lang="en-US" altLang="zh-CN" sz="1200" dirty="0">
              <a:solidFill>
                <a:schemeClr val="accent1"/>
              </a:solidFill>
              <a:latin typeface="FZSJ-YANGGNH" panose="02010600010101010101" pitchFamily="2" charset="-122"/>
              <a:ea typeface="FZSJ-YANGGNH" panose="02010600010101010101" pitchFamily="2" charset="-122"/>
            </a:endParaRPr>
          </a:p>
          <a:p>
            <a:pPr indent="-90488" algn="ctr" fontAlgn="base">
              <a:lnSpc>
                <a:spcPct val="150000"/>
              </a:lnSpc>
              <a:spcAft>
                <a:spcPct val="0"/>
              </a:spcAft>
              <a:buClr>
                <a:srgbClr val="1F3F5F"/>
              </a:buClr>
            </a:pPr>
            <a:r>
              <a:rPr lang="zh-CN" altLang="en-US" sz="1200" dirty="0">
                <a:solidFill>
                  <a:schemeClr val="accent1"/>
                </a:solidFill>
                <a:latin typeface="FZSJ-YANGGNH" panose="02010600010101010101" pitchFamily="2" charset="-122"/>
                <a:ea typeface="FZSJ-YANGGNH" panose="02010600010101010101" pitchFamily="2" charset="-122"/>
              </a:rPr>
              <a:t>单击此处添加文本，单击此处添加文本，单击此处添加文本。</a:t>
            </a:r>
          </a:p>
        </p:txBody>
      </p:sp>
      <p:grpSp>
        <p:nvGrpSpPr>
          <p:cNvPr id="48" name="组合 47"/>
          <p:cNvGrpSpPr/>
          <p:nvPr/>
        </p:nvGrpSpPr>
        <p:grpSpPr>
          <a:xfrm>
            <a:off x="5536842" y="2940017"/>
            <a:ext cx="1689713" cy="307527"/>
            <a:chOff x="5858456" y="3920029"/>
            <a:chExt cx="2252950" cy="410037"/>
          </a:xfrm>
        </p:grpSpPr>
        <p:sp>
          <p:nvSpPr>
            <p:cNvPr id="49" name="矩形 3"/>
            <p:cNvSpPr/>
            <p:nvPr/>
          </p:nvSpPr>
          <p:spPr>
            <a:xfrm rot="16200000" flipV="1">
              <a:off x="6779913" y="2998572"/>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FZSJ-YANGGNH" panose="02010600010101010101" pitchFamily="2" charset="-122"/>
                <a:ea typeface="FZSJ-YANGGNH" panose="02010600010101010101" pitchFamily="2" charset="-122"/>
              </a:endParaRPr>
            </a:p>
          </p:txBody>
        </p:sp>
        <p:sp>
          <p:nvSpPr>
            <p:cNvPr id="50" name="TextBox 9"/>
            <p:cNvSpPr txBox="1"/>
            <p:nvPr/>
          </p:nvSpPr>
          <p:spPr>
            <a:xfrm>
              <a:off x="6002475" y="3929956"/>
              <a:ext cx="2108931" cy="400110"/>
            </a:xfrm>
            <a:prstGeom prst="rect">
              <a:avLst/>
            </a:prstGeom>
            <a:noFill/>
          </p:spPr>
          <p:txBody>
            <a:bodyPr wrap="square" rtlCol="0">
              <a:spAutoFit/>
            </a:bodyPr>
            <a:lstStyle/>
            <a:p>
              <a:pPr algn="ctr"/>
              <a:r>
                <a:rPr lang="zh-CN" altLang="en-US" sz="1350" b="1" dirty="0">
                  <a:solidFill>
                    <a:schemeClr val="accent2"/>
                  </a:solidFill>
                  <a:latin typeface="FZSJ-YANGGNH" panose="02010600010101010101" pitchFamily="2" charset="-122"/>
                  <a:ea typeface="FZSJ-YANGGNH" panose="02010600010101010101" pitchFamily="2" charset="-122"/>
                </a:rPr>
                <a:t>单击添加标题</a:t>
              </a:r>
            </a:p>
          </p:txBody>
        </p:sp>
      </p:grpSp>
    </p:spTree>
    <p:extLst>
      <p:ext uri="{BB962C8B-B14F-4D97-AF65-F5344CB8AC3E}">
        <p14:creationId xmlns:p14="http://schemas.microsoft.com/office/powerpoint/2010/main" val="420957020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500" fill="hold"/>
                                        <p:tgtEl>
                                          <p:spTgt spid="48"/>
                                        </p:tgtEl>
                                        <p:attrNameLst>
                                          <p:attrName>ppt_x</p:attrName>
                                        </p:attrNameLst>
                                      </p:cBhvr>
                                      <p:tavLst>
                                        <p:tav tm="0">
                                          <p:val>
                                            <p:strVal val="1+#ppt_w/2"/>
                                          </p:val>
                                        </p:tav>
                                        <p:tav tm="100000">
                                          <p:val>
                                            <p:strVal val="#ppt_x"/>
                                          </p:val>
                                        </p:tav>
                                      </p:tavLst>
                                    </p:anim>
                                    <p:anim calcmode="lin" valueType="num">
                                      <p:cBhvr additive="base">
                                        <p:cTn id="17" dur="500" fill="hold"/>
                                        <p:tgtEl>
                                          <p:spTgt spid="48"/>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500" fill="hold"/>
                                        <p:tgtEl>
                                          <p:spTgt spid="39"/>
                                        </p:tgtEl>
                                        <p:attrNameLst>
                                          <p:attrName>ppt_x</p:attrName>
                                        </p:attrNameLst>
                                      </p:cBhvr>
                                      <p:tavLst>
                                        <p:tav tm="0">
                                          <p:val>
                                            <p:strVal val="0-#ppt_w/2"/>
                                          </p:val>
                                        </p:tav>
                                        <p:tav tm="100000">
                                          <p:val>
                                            <p:strVal val="#ppt_x"/>
                                          </p:val>
                                        </p:tav>
                                      </p:tavLst>
                                    </p:anim>
                                    <p:anim calcmode="lin" valueType="num">
                                      <p:cBhvr additive="base">
                                        <p:cTn id="21" dur="500" fill="hold"/>
                                        <p:tgtEl>
                                          <p:spTgt spid="39"/>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up)">
                                      <p:cBhvr>
                                        <p:cTn id="25" dur="500"/>
                                        <p:tgtEl>
                                          <p:spTgt spid="42"/>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wipe(down)">
                                      <p:cBhvr>
                                        <p:cTn id="28" dur="500"/>
                                        <p:tgtEl>
                                          <p:spTgt spid="43"/>
                                        </p:tgtEl>
                                      </p:cBhvr>
                                    </p:animEffect>
                                  </p:childTnLst>
                                </p:cTn>
                              </p:par>
                            </p:childTnLst>
                          </p:cTn>
                        </p:par>
                        <p:par>
                          <p:cTn id="29" fill="hold">
                            <p:stCondLst>
                              <p:cond delay="1500"/>
                            </p:stCondLst>
                            <p:childTnLst>
                              <p:par>
                                <p:cTn id="30" presetID="22" presetClass="entr" presetSubtype="8"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wipe(left)">
                                      <p:cBhvr>
                                        <p:cTn id="32" dur="500"/>
                                        <p:tgtEl>
                                          <p:spTgt spid="44"/>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2500"/>
                            </p:stCondLst>
                            <p:childTnLst>
                              <p:par>
                                <p:cTn id="41" presetID="22" presetClass="entr" presetSubtype="1" fill="hold" grpId="0"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up)">
                                      <p:cBhvr>
                                        <p:cTn id="43"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5" grpId="0" animBg="1"/>
      <p:bldP spid="46" grpId="0" animBg="1"/>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006028" y="1203598"/>
            <a:ext cx="3310388" cy="685222"/>
            <a:chOff x="6327173" y="1681099"/>
            <a:chExt cx="4413851" cy="913630"/>
          </a:xfrm>
        </p:grpSpPr>
        <p:sp>
          <p:nvSpPr>
            <p:cNvPr id="9" name="文本框 20"/>
            <p:cNvSpPr txBox="1"/>
            <p:nvPr/>
          </p:nvSpPr>
          <p:spPr>
            <a:xfrm>
              <a:off x="6327174" y="1681099"/>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1"/>
                  </a:solidFill>
                  <a:latin typeface="FZSJ-YANGGNH" panose="02010600010101010101" pitchFamily="2" charset="-122"/>
                  <a:ea typeface="FZSJ-YANGGNH" panose="02010600010101010101" pitchFamily="2" charset="-122"/>
                </a:rPr>
                <a:t>添加标题</a:t>
              </a:r>
            </a:p>
          </p:txBody>
        </p:sp>
        <p:sp>
          <p:nvSpPr>
            <p:cNvPr id="10" name="文本框 21"/>
            <p:cNvSpPr txBox="1"/>
            <p:nvPr/>
          </p:nvSpPr>
          <p:spPr>
            <a:xfrm>
              <a:off x="6327173" y="1938138"/>
              <a:ext cx="4413851" cy="656591"/>
            </a:xfrm>
            <a:prstGeom prst="rect">
              <a:avLst/>
            </a:prstGeom>
            <a:noFill/>
          </p:spPr>
          <p:txBody>
            <a:bodyPr wrap="square" rtlCol="0">
              <a:spAutoFit/>
            </a:bodyPr>
            <a:lstStyle/>
            <a:p>
              <a:pPr algn="just">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grpSp>
        <p:nvGrpSpPr>
          <p:cNvPr id="11" name="组合 10"/>
          <p:cNvGrpSpPr/>
          <p:nvPr/>
        </p:nvGrpSpPr>
        <p:grpSpPr>
          <a:xfrm>
            <a:off x="1171167" y="2659158"/>
            <a:ext cx="667212" cy="548855"/>
            <a:chOff x="1465545" y="3524250"/>
            <a:chExt cx="889616" cy="731806"/>
          </a:xfrm>
        </p:grpSpPr>
        <p:sp>
          <p:nvSpPr>
            <p:cNvPr id="12" name="六边形 11"/>
            <p:cNvSpPr/>
            <p:nvPr/>
          </p:nvSpPr>
          <p:spPr>
            <a:xfrm>
              <a:off x="1480540" y="3524250"/>
              <a:ext cx="848894" cy="731806"/>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latin typeface="FZSJ-YANGGNH" panose="02010600010101010101" pitchFamily="2" charset="-122"/>
                <a:ea typeface="FZSJ-YANGGNH" panose="02010600010101010101" pitchFamily="2" charset="-122"/>
              </a:endParaRPr>
            </a:p>
          </p:txBody>
        </p:sp>
        <p:sp>
          <p:nvSpPr>
            <p:cNvPr id="13" name="文本框 24"/>
            <p:cNvSpPr txBox="1"/>
            <p:nvPr/>
          </p:nvSpPr>
          <p:spPr>
            <a:xfrm>
              <a:off x="1465545" y="3719336"/>
              <a:ext cx="889616" cy="418576"/>
            </a:xfrm>
            <a:prstGeom prst="rect">
              <a:avLst/>
            </a:prstGeom>
            <a:noFill/>
          </p:spPr>
          <p:txBody>
            <a:bodyPr wrap="square" rtlCol="0">
              <a:spAutoFit/>
            </a:bodyPr>
            <a:lstStyle/>
            <a:p>
              <a:pPr algn="ctr">
                <a:lnSpc>
                  <a:spcPct val="90000"/>
                </a:lnSpc>
                <a:spcBef>
                  <a:spcPts val="750"/>
                </a:spcBef>
              </a:pPr>
              <a:r>
                <a:rPr lang="en-US" altLang="zh-CN" sz="1600" dirty="0">
                  <a:solidFill>
                    <a:schemeClr val="accent2"/>
                  </a:solidFill>
                  <a:latin typeface="FZSJ-YANGGNH" panose="02010600010101010101" pitchFamily="2" charset="-122"/>
                  <a:ea typeface="FZSJ-YANGGNH" panose="02010600010101010101" pitchFamily="2" charset="-122"/>
                </a:rPr>
                <a:t>30%</a:t>
              </a:r>
              <a:endParaRPr lang="zh-CN" altLang="en-US" sz="1600" dirty="0">
                <a:solidFill>
                  <a:schemeClr val="accent2"/>
                </a:solidFill>
                <a:latin typeface="FZSJ-YANGGNH" panose="02010600010101010101" pitchFamily="2" charset="-122"/>
                <a:ea typeface="FZSJ-YANGGNH" panose="02010600010101010101" pitchFamily="2" charset="-122"/>
              </a:endParaRPr>
            </a:p>
          </p:txBody>
        </p:sp>
      </p:grpSp>
      <p:grpSp>
        <p:nvGrpSpPr>
          <p:cNvPr id="14" name="组合 13"/>
          <p:cNvGrpSpPr/>
          <p:nvPr/>
        </p:nvGrpSpPr>
        <p:grpSpPr>
          <a:xfrm>
            <a:off x="1819083" y="3077232"/>
            <a:ext cx="1000697" cy="862670"/>
            <a:chOff x="2329434" y="4081682"/>
            <a:chExt cx="1334262" cy="1150226"/>
          </a:xfrm>
        </p:grpSpPr>
        <p:sp>
          <p:nvSpPr>
            <p:cNvPr id="15" name="六边形 14"/>
            <p:cNvSpPr/>
            <p:nvPr/>
          </p:nvSpPr>
          <p:spPr>
            <a:xfrm>
              <a:off x="2329434" y="4081682"/>
              <a:ext cx="1334262" cy="1150226"/>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latin typeface="FZSJ-YANGGNH" panose="02010600010101010101" pitchFamily="2" charset="-122"/>
                <a:ea typeface="FZSJ-YANGGNH" panose="02010600010101010101" pitchFamily="2" charset="-122"/>
              </a:endParaRPr>
            </a:p>
          </p:txBody>
        </p:sp>
        <p:sp>
          <p:nvSpPr>
            <p:cNvPr id="16" name="文本框 25"/>
            <p:cNvSpPr txBox="1"/>
            <p:nvPr/>
          </p:nvSpPr>
          <p:spPr>
            <a:xfrm>
              <a:off x="2426710" y="4416728"/>
              <a:ext cx="1134779" cy="510909"/>
            </a:xfrm>
            <a:prstGeom prst="rect">
              <a:avLst/>
            </a:prstGeom>
            <a:noFill/>
          </p:spPr>
          <p:txBody>
            <a:bodyPr wrap="square" rtlCol="0">
              <a:spAutoFit/>
            </a:bodyPr>
            <a:lstStyle/>
            <a:p>
              <a:pPr algn="ctr">
                <a:lnSpc>
                  <a:spcPct val="90000"/>
                </a:lnSpc>
                <a:spcBef>
                  <a:spcPts val="750"/>
                </a:spcBef>
              </a:pPr>
              <a:r>
                <a:rPr lang="en-US" altLang="zh-CN" sz="2100" dirty="0">
                  <a:solidFill>
                    <a:schemeClr val="accent2"/>
                  </a:solidFill>
                  <a:latin typeface="FZSJ-YANGGNH" panose="02010600010101010101" pitchFamily="2" charset="-122"/>
                  <a:ea typeface="FZSJ-YANGGNH" panose="02010600010101010101" pitchFamily="2" charset="-122"/>
                </a:rPr>
                <a:t>40%</a:t>
              </a:r>
              <a:endParaRPr lang="zh-CN" altLang="en-US" sz="2100" dirty="0">
                <a:solidFill>
                  <a:schemeClr val="accent2"/>
                </a:solidFill>
                <a:latin typeface="FZSJ-YANGGNH" panose="02010600010101010101" pitchFamily="2" charset="-122"/>
                <a:ea typeface="FZSJ-YANGGNH" panose="02010600010101010101" pitchFamily="2" charset="-122"/>
              </a:endParaRPr>
            </a:p>
          </p:txBody>
        </p:sp>
      </p:grpSp>
      <p:grpSp>
        <p:nvGrpSpPr>
          <p:cNvPr id="17" name="组合 16"/>
          <p:cNvGrpSpPr/>
          <p:nvPr/>
        </p:nvGrpSpPr>
        <p:grpSpPr>
          <a:xfrm>
            <a:off x="2819780" y="1935957"/>
            <a:ext cx="1824228" cy="1572611"/>
            <a:chOff x="3663696" y="2559981"/>
            <a:chExt cx="2432304" cy="2096814"/>
          </a:xfrm>
        </p:grpSpPr>
        <p:sp>
          <p:nvSpPr>
            <p:cNvPr id="18" name="六边形 17"/>
            <p:cNvSpPr/>
            <p:nvPr/>
          </p:nvSpPr>
          <p:spPr>
            <a:xfrm>
              <a:off x="3663696" y="2559981"/>
              <a:ext cx="2432304" cy="209681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latin typeface="FZSJ-YANGGNH" panose="02010600010101010101" pitchFamily="2" charset="-122"/>
                <a:ea typeface="FZSJ-YANGGNH" panose="02010600010101010101" pitchFamily="2" charset="-122"/>
              </a:endParaRPr>
            </a:p>
          </p:txBody>
        </p:sp>
        <p:sp>
          <p:nvSpPr>
            <p:cNvPr id="19" name="文本框 26"/>
            <p:cNvSpPr txBox="1"/>
            <p:nvPr/>
          </p:nvSpPr>
          <p:spPr>
            <a:xfrm>
              <a:off x="4040565" y="3229823"/>
              <a:ext cx="1678565" cy="787908"/>
            </a:xfrm>
            <a:prstGeom prst="rect">
              <a:avLst/>
            </a:prstGeom>
            <a:noFill/>
          </p:spPr>
          <p:txBody>
            <a:bodyPr wrap="square" rtlCol="0">
              <a:spAutoFit/>
            </a:bodyPr>
            <a:lstStyle/>
            <a:p>
              <a:pPr algn="ctr">
                <a:lnSpc>
                  <a:spcPct val="90000"/>
                </a:lnSpc>
                <a:spcBef>
                  <a:spcPts val="750"/>
                </a:spcBef>
              </a:pPr>
              <a:r>
                <a:rPr lang="en-US" altLang="zh-CN" sz="3600" dirty="0">
                  <a:solidFill>
                    <a:schemeClr val="accent2"/>
                  </a:solidFill>
                  <a:latin typeface="FZSJ-YANGGNH" panose="02010600010101010101" pitchFamily="2" charset="-122"/>
                  <a:ea typeface="FZSJ-YANGGNH" panose="02010600010101010101" pitchFamily="2" charset="-122"/>
                </a:rPr>
                <a:t>80%</a:t>
              </a:r>
              <a:endParaRPr lang="zh-CN" altLang="en-US" sz="3600" dirty="0">
                <a:solidFill>
                  <a:schemeClr val="accent2"/>
                </a:solidFill>
                <a:latin typeface="FZSJ-YANGGNH" panose="02010600010101010101" pitchFamily="2" charset="-122"/>
                <a:ea typeface="FZSJ-YANGGNH" panose="02010600010101010101" pitchFamily="2" charset="-122"/>
              </a:endParaRPr>
            </a:p>
          </p:txBody>
        </p:sp>
      </p:grpSp>
      <p:grpSp>
        <p:nvGrpSpPr>
          <p:cNvPr id="20" name="组合 19"/>
          <p:cNvGrpSpPr/>
          <p:nvPr/>
        </p:nvGrpSpPr>
        <p:grpSpPr>
          <a:xfrm>
            <a:off x="1524189" y="1281023"/>
            <a:ext cx="1295591" cy="1116888"/>
            <a:chOff x="1936242" y="1686736"/>
            <a:chExt cx="1727454" cy="1489184"/>
          </a:xfrm>
        </p:grpSpPr>
        <p:sp>
          <p:nvSpPr>
            <p:cNvPr id="21" name="六边形 20"/>
            <p:cNvSpPr/>
            <p:nvPr/>
          </p:nvSpPr>
          <p:spPr>
            <a:xfrm>
              <a:off x="1936242" y="1686736"/>
              <a:ext cx="1727454" cy="1489184"/>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latin typeface="FZSJ-YANGGNH" panose="02010600010101010101" pitchFamily="2" charset="-122"/>
                <a:ea typeface="FZSJ-YANGGNH" panose="02010600010101010101" pitchFamily="2" charset="-122"/>
              </a:endParaRPr>
            </a:p>
          </p:txBody>
        </p:sp>
        <p:sp>
          <p:nvSpPr>
            <p:cNvPr id="22" name="文本框 27"/>
            <p:cNvSpPr txBox="1"/>
            <p:nvPr/>
          </p:nvSpPr>
          <p:spPr>
            <a:xfrm>
              <a:off x="1957362" y="2135861"/>
              <a:ext cx="1678565" cy="621708"/>
            </a:xfrm>
            <a:prstGeom prst="rect">
              <a:avLst/>
            </a:prstGeom>
            <a:noFill/>
          </p:spPr>
          <p:txBody>
            <a:bodyPr wrap="square" rtlCol="0">
              <a:spAutoFit/>
            </a:bodyPr>
            <a:lstStyle/>
            <a:p>
              <a:pPr algn="ctr">
                <a:lnSpc>
                  <a:spcPct val="90000"/>
                </a:lnSpc>
                <a:spcBef>
                  <a:spcPts val="750"/>
                </a:spcBef>
              </a:pPr>
              <a:r>
                <a:rPr lang="en-US" altLang="zh-CN" sz="2700" dirty="0">
                  <a:solidFill>
                    <a:schemeClr val="accent2"/>
                  </a:solidFill>
                  <a:latin typeface="FZSJ-YANGGNH" panose="02010600010101010101" pitchFamily="2" charset="-122"/>
                  <a:ea typeface="FZSJ-YANGGNH" panose="02010600010101010101" pitchFamily="2" charset="-122"/>
                </a:rPr>
                <a:t>50%</a:t>
              </a:r>
              <a:endParaRPr lang="zh-CN" altLang="en-US" sz="2700" dirty="0">
                <a:solidFill>
                  <a:schemeClr val="accent2"/>
                </a:solidFill>
                <a:latin typeface="FZSJ-YANGGNH" panose="02010600010101010101" pitchFamily="2" charset="-122"/>
                <a:ea typeface="FZSJ-YANGGNH" panose="02010600010101010101" pitchFamily="2" charset="-122"/>
              </a:endParaRPr>
            </a:p>
          </p:txBody>
        </p:sp>
      </p:grpSp>
      <p:grpSp>
        <p:nvGrpSpPr>
          <p:cNvPr id="23" name="组合 22"/>
          <p:cNvGrpSpPr/>
          <p:nvPr/>
        </p:nvGrpSpPr>
        <p:grpSpPr>
          <a:xfrm>
            <a:off x="5006028" y="3504982"/>
            <a:ext cx="3310388" cy="685222"/>
            <a:chOff x="6327173" y="4322384"/>
            <a:chExt cx="4413851" cy="913627"/>
          </a:xfrm>
        </p:grpSpPr>
        <p:sp>
          <p:nvSpPr>
            <p:cNvPr id="24" name="文本框 29"/>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tx2"/>
                  </a:solidFill>
                  <a:latin typeface="FZSJ-YANGGNH" panose="02010600010101010101" pitchFamily="2" charset="-122"/>
                  <a:ea typeface="FZSJ-YANGGNH" panose="02010600010101010101" pitchFamily="2" charset="-122"/>
                </a:rPr>
                <a:t>添加标题</a:t>
              </a:r>
            </a:p>
          </p:txBody>
        </p:sp>
        <p:sp>
          <p:nvSpPr>
            <p:cNvPr id="25" name="文本框 30"/>
            <p:cNvSpPr txBox="1"/>
            <p:nvPr/>
          </p:nvSpPr>
          <p:spPr>
            <a:xfrm>
              <a:off x="6327173" y="4579422"/>
              <a:ext cx="4413851" cy="656589"/>
            </a:xfrm>
            <a:prstGeom prst="rect">
              <a:avLst/>
            </a:prstGeom>
            <a:noFill/>
          </p:spPr>
          <p:txBody>
            <a:bodyPr wrap="square" rtlCol="0">
              <a:spAutoFit/>
            </a:bodyPr>
            <a:lstStyle/>
            <a:p>
              <a:pPr algn="just">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grpSp>
        <p:nvGrpSpPr>
          <p:cNvPr id="26" name="组合 25"/>
          <p:cNvGrpSpPr/>
          <p:nvPr/>
        </p:nvGrpSpPr>
        <p:grpSpPr>
          <a:xfrm>
            <a:off x="5006028" y="1954658"/>
            <a:ext cx="3310388" cy="685222"/>
            <a:chOff x="6327173" y="3001742"/>
            <a:chExt cx="4413851" cy="913627"/>
          </a:xfrm>
        </p:grpSpPr>
        <p:sp>
          <p:nvSpPr>
            <p:cNvPr id="27" name="文本框 31"/>
            <p:cNvSpPr txBox="1"/>
            <p:nvPr/>
          </p:nvSpPr>
          <p:spPr>
            <a:xfrm>
              <a:off x="6327174" y="3001742"/>
              <a:ext cx="2321526" cy="418576"/>
            </a:xfrm>
            <a:prstGeom prst="rect">
              <a:avLst/>
            </a:prstGeom>
            <a:noFill/>
          </p:spPr>
          <p:txBody>
            <a:bodyPr wrap="square" rtlCol="0">
              <a:spAutoFit/>
            </a:bodyPr>
            <a:lstStyle/>
            <a:p>
              <a:pPr algn="just">
                <a:lnSpc>
                  <a:spcPct val="90000"/>
                </a:lnSpc>
                <a:spcBef>
                  <a:spcPts val="750"/>
                </a:spcBef>
              </a:pPr>
              <a:r>
                <a:rPr lang="zh-CN" altLang="en-US" sz="1600" dirty="0">
                  <a:latin typeface="FZSJ-YANGGNH" panose="02010600010101010101" pitchFamily="2" charset="-122"/>
                  <a:ea typeface="FZSJ-YANGGNH" panose="02010600010101010101" pitchFamily="2" charset="-122"/>
                </a:rPr>
                <a:t>添加标题</a:t>
              </a:r>
            </a:p>
          </p:txBody>
        </p:sp>
        <p:sp>
          <p:nvSpPr>
            <p:cNvPr id="28" name="文本框 32"/>
            <p:cNvSpPr txBox="1"/>
            <p:nvPr/>
          </p:nvSpPr>
          <p:spPr>
            <a:xfrm>
              <a:off x="6327173" y="3258780"/>
              <a:ext cx="4413851" cy="656589"/>
            </a:xfrm>
            <a:prstGeom prst="rect">
              <a:avLst/>
            </a:prstGeom>
            <a:noFill/>
          </p:spPr>
          <p:txBody>
            <a:bodyPr wrap="square" rtlCol="0">
              <a:spAutoFit/>
            </a:bodyPr>
            <a:lstStyle/>
            <a:p>
              <a:pPr algn="just">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grpSp>
        <p:nvGrpSpPr>
          <p:cNvPr id="29" name="组合 28"/>
          <p:cNvGrpSpPr/>
          <p:nvPr/>
        </p:nvGrpSpPr>
        <p:grpSpPr>
          <a:xfrm>
            <a:off x="5006028" y="2765824"/>
            <a:ext cx="3310388" cy="685222"/>
            <a:chOff x="6327173" y="4322384"/>
            <a:chExt cx="4413851" cy="913627"/>
          </a:xfrm>
        </p:grpSpPr>
        <p:sp>
          <p:nvSpPr>
            <p:cNvPr id="30" name="文本框 33"/>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2"/>
                  </a:solidFill>
                  <a:latin typeface="FZSJ-YANGGNH" panose="02010600010101010101" pitchFamily="2" charset="-122"/>
                  <a:ea typeface="FZSJ-YANGGNH" panose="02010600010101010101" pitchFamily="2" charset="-122"/>
                </a:rPr>
                <a:t>添加标题</a:t>
              </a:r>
            </a:p>
          </p:txBody>
        </p:sp>
        <p:sp>
          <p:nvSpPr>
            <p:cNvPr id="31" name="文本框 34"/>
            <p:cNvSpPr txBox="1"/>
            <p:nvPr/>
          </p:nvSpPr>
          <p:spPr>
            <a:xfrm>
              <a:off x="6327173" y="4579422"/>
              <a:ext cx="4413851" cy="656589"/>
            </a:xfrm>
            <a:prstGeom prst="rect">
              <a:avLst/>
            </a:prstGeom>
            <a:noFill/>
          </p:spPr>
          <p:txBody>
            <a:bodyPr wrap="square" rtlCol="0">
              <a:spAutoFit/>
            </a:bodyPr>
            <a:lstStyle/>
            <a:p>
              <a:pPr algn="just">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spTree>
    <p:extLst>
      <p:ext uri="{BB962C8B-B14F-4D97-AF65-F5344CB8AC3E}">
        <p14:creationId xmlns:p14="http://schemas.microsoft.com/office/powerpoint/2010/main" val="110070219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anim calcmode="lin" valueType="num">
                                      <p:cBhvr>
                                        <p:cTn id="10" dur="500" fill="hold"/>
                                        <p:tgtEl>
                                          <p:spTgt spid="11"/>
                                        </p:tgtEl>
                                        <p:attrNameLst>
                                          <p:attrName>ppt_x</p:attrName>
                                        </p:attrNameLst>
                                      </p:cBhvr>
                                      <p:tavLst>
                                        <p:tav tm="0">
                                          <p:val>
                                            <p:fltVal val="0.5"/>
                                          </p:val>
                                        </p:tav>
                                        <p:tav tm="100000">
                                          <p:val>
                                            <p:strVal val="#ppt_x"/>
                                          </p:val>
                                        </p:tav>
                                      </p:tavLst>
                                    </p:anim>
                                    <p:anim calcmode="lin" valueType="num">
                                      <p:cBhvr>
                                        <p:cTn id="11" dur="500" fill="hold"/>
                                        <p:tgtEl>
                                          <p:spTgt spid="11"/>
                                        </p:tgtEl>
                                        <p:attrNameLst>
                                          <p:attrName>ppt_y</p:attrName>
                                        </p:attrNameLst>
                                      </p:cBhvr>
                                      <p:tavLst>
                                        <p:tav tm="0">
                                          <p:val>
                                            <p:fltVal val="0.5"/>
                                          </p:val>
                                        </p:tav>
                                        <p:tav tm="100000">
                                          <p:val>
                                            <p:strVal val="#ppt_y"/>
                                          </p:val>
                                        </p:tav>
                                      </p:tavLst>
                                    </p:anim>
                                  </p:childTnLst>
                                </p:cTn>
                              </p:par>
                              <p:par>
                                <p:cTn id="12" presetID="53" presetClass="entr" presetSubtype="528" fill="hold" nodeType="withEffect">
                                  <p:stCondLst>
                                    <p:cond delay="25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anim calcmode="lin" valueType="num">
                                      <p:cBhvr>
                                        <p:cTn id="17" dur="500" fill="hold"/>
                                        <p:tgtEl>
                                          <p:spTgt spid="14"/>
                                        </p:tgtEl>
                                        <p:attrNameLst>
                                          <p:attrName>ppt_x</p:attrName>
                                        </p:attrNameLst>
                                      </p:cBhvr>
                                      <p:tavLst>
                                        <p:tav tm="0">
                                          <p:val>
                                            <p:fltVal val="0.5"/>
                                          </p:val>
                                        </p:tav>
                                        <p:tav tm="100000">
                                          <p:val>
                                            <p:strVal val="#ppt_x"/>
                                          </p:val>
                                        </p:tav>
                                      </p:tavLst>
                                    </p:anim>
                                    <p:anim calcmode="lin" valueType="num">
                                      <p:cBhvr>
                                        <p:cTn id="18" dur="500" fill="hold"/>
                                        <p:tgtEl>
                                          <p:spTgt spid="14"/>
                                        </p:tgtEl>
                                        <p:attrNameLst>
                                          <p:attrName>ppt_y</p:attrName>
                                        </p:attrNameLst>
                                      </p:cBhvr>
                                      <p:tavLst>
                                        <p:tav tm="0">
                                          <p:val>
                                            <p:fltVal val="0.5"/>
                                          </p:val>
                                        </p:tav>
                                        <p:tav tm="100000">
                                          <p:val>
                                            <p:strVal val="#ppt_y"/>
                                          </p:val>
                                        </p:tav>
                                      </p:tavLst>
                                    </p:anim>
                                  </p:childTnLst>
                                </p:cTn>
                              </p:par>
                              <p:par>
                                <p:cTn id="19" presetID="53" presetClass="entr" presetSubtype="528" fill="hold" nodeType="withEffect">
                                  <p:stCondLst>
                                    <p:cond delay="500"/>
                                  </p:stCondLst>
                                  <p:childTnLst>
                                    <p:set>
                                      <p:cBhvr>
                                        <p:cTn id="20" dur="1" fill="hold">
                                          <p:stCondLst>
                                            <p:cond delay="0"/>
                                          </p:stCondLst>
                                        </p:cTn>
                                        <p:tgtEl>
                                          <p:spTgt spid="20"/>
                                        </p:tgtEl>
                                        <p:attrNameLst>
                                          <p:attrName>style.visibility</p:attrName>
                                        </p:attrNameLst>
                                      </p:cBhvr>
                                      <p:to>
                                        <p:strVal val="visible"/>
                                      </p:to>
                                    </p:set>
                                    <p:anim calcmode="lin" valueType="num">
                                      <p:cBhvr>
                                        <p:cTn id="21" dur="500" fill="hold"/>
                                        <p:tgtEl>
                                          <p:spTgt spid="20"/>
                                        </p:tgtEl>
                                        <p:attrNameLst>
                                          <p:attrName>ppt_w</p:attrName>
                                        </p:attrNameLst>
                                      </p:cBhvr>
                                      <p:tavLst>
                                        <p:tav tm="0">
                                          <p:val>
                                            <p:fltVal val="0"/>
                                          </p:val>
                                        </p:tav>
                                        <p:tav tm="100000">
                                          <p:val>
                                            <p:strVal val="#ppt_w"/>
                                          </p:val>
                                        </p:tav>
                                      </p:tavLst>
                                    </p:anim>
                                    <p:anim calcmode="lin" valueType="num">
                                      <p:cBhvr>
                                        <p:cTn id="22" dur="500" fill="hold"/>
                                        <p:tgtEl>
                                          <p:spTgt spid="20"/>
                                        </p:tgtEl>
                                        <p:attrNameLst>
                                          <p:attrName>ppt_h</p:attrName>
                                        </p:attrNameLst>
                                      </p:cBhvr>
                                      <p:tavLst>
                                        <p:tav tm="0">
                                          <p:val>
                                            <p:fltVal val="0"/>
                                          </p:val>
                                        </p:tav>
                                        <p:tav tm="100000">
                                          <p:val>
                                            <p:strVal val="#ppt_h"/>
                                          </p:val>
                                        </p:tav>
                                      </p:tavLst>
                                    </p:anim>
                                    <p:animEffect transition="in" filter="fade">
                                      <p:cBhvr>
                                        <p:cTn id="23" dur="500"/>
                                        <p:tgtEl>
                                          <p:spTgt spid="20"/>
                                        </p:tgtEl>
                                      </p:cBhvr>
                                    </p:animEffect>
                                    <p:anim calcmode="lin" valueType="num">
                                      <p:cBhvr>
                                        <p:cTn id="24" dur="500" fill="hold"/>
                                        <p:tgtEl>
                                          <p:spTgt spid="20"/>
                                        </p:tgtEl>
                                        <p:attrNameLst>
                                          <p:attrName>ppt_x</p:attrName>
                                        </p:attrNameLst>
                                      </p:cBhvr>
                                      <p:tavLst>
                                        <p:tav tm="0">
                                          <p:val>
                                            <p:fltVal val="0.5"/>
                                          </p:val>
                                        </p:tav>
                                        <p:tav tm="100000">
                                          <p:val>
                                            <p:strVal val="#ppt_x"/>
                                          </p:val>
                                        </p:tav>
                                      </p:tavLst>
                                    </p:anim>
                                    <p:anim calcmode="lin" valueType="num">
                                      <p:cBhvr>
                                        <p:cTn id="25" dur="500" fill="hold"/>
                                        <p:tgtEl>
                                          <p:spTgt spid="20"/>
                                        </p:tgtEl>
                                        <p:attrNameLst>
                                          <p:attrName>ppt_y</p:attrName>
                                        </p:attrNameLst>
                                      </p:cBhvr>
                                      <p:tavLst>
                                        <p:tav tm="0">
                                          <p:val>
                                            <p:fltVal val="0.5"/>
                                          </p:val>
                                        </p:tav>
                                        <p:tav tm="100000">
                                          <p:val>
                                            <p:strVal val="#ppt_y"/>
                                          </p:val>
                                        </p:tav>
                                      </p:tavLst>
                                    </p:anim>
                                  </p:childTnLst>
                                </p:cTn>
                              </p:par>
                              <p:par>
                                <p:cTn id="26" presetID="53" presetClass="entr" presetSubtype="528" fill="hold" nodeType="withEffect">
                                  <p:stCondLst>
                                    <p:cond delay="750"/>
                                  </p:stCondLst>
                                  <p:childTnLst>
                                    <p:set>
                                      <p:cBhvr>
                                        <p:cTn id="27" dur="1" fill="hold">
                                          <p:stCondLst>
                                            <p:cond delay="0"/>
                                          </p:stCondLst>
                                        </p:cTn>
                                        <p:tgtEl>
                                          <p:spTgt spid="17"/>
                                        </p:tgtEl>
                                        <p:attrNameLst>
                                          <p:attrName>style.visibility</p:attrName>
                                        </p:attrNameLst>
                                      </p:cBhvr>
                                      <p:to>
                                        <p:strVal val="visible"/>
                                      </p:to>
                                    </p:set>
                                    <p:anim calcmode="lin" valueType="num">
                                      <p:cBhvr>
                                        <p:cTn id="28" dur="500" fill="hold"/>
                                        <p:tgtEl>
                                          <p:spTgt spid="17"/>
                                        </p:tgtEl>
                                        <p:attrNameLst>
                                          <p:attrName>ppt_w</p:attrName>
                                        </p:attrNameLst>
                                      </p:cBhvr>
                                      <p:tavLst>
                                        <p:tav tm="0">
                                          <p:val>
                                            <p:fltVal val="0"/>
                                          </p:val>
                                        </p:tav>
                                        <p:tav tm="100000">
                                          <p:val>
                                            <p:strVal val="#ppt_w"/>
                                          </p:val>
                                        </p:tav>
                                      </p:tavLst>
                                    </p:anim>
                                    <p:anim calcmode="lin" valueType="num">
                                      <p:cBhvr>
                                        <p:cTn id="29" dur="500" fill="hold"/>
                                        <p:tgtEl>
                                          <p:spTgt spid="17"/>
                                        </p:tgtEl>
                                        <p:attrNameLst>
                                          <p:attrName>ppt_h</p:attrName>
                                        </p:attrNameLst>
                                      </p:cBhvr>
                                      <p:tavLst>
                                        <p:tav tm="0">
                                          <p:val>
                                            <p:fltVal val="0"/>
                                          </p:val>
                                        </p:tav>
                                        <p:tav tm="100000">
                                          <p:val>
                                            <p:strVal val="#ppt_h"/>
                                          </p:val>
                                        </p:tav>
                                      </p:tavLst>
                                    </p:anim>
                                    <p:animEffect transition="in" filter="fade">
                                      <p:cBhvr>
                                        <p:cTn id="30" dur="500"/>
                                        <p:tgtEl>
                                          <p:spTgt spid="17"/>
                                        </p:tgtEl>
                                      </p:cBhvr>
                                    </p:animEffect>
                                    <p:anim calcmode="lin" valueType="num">
                                      <p:cBhvr>
                                        <p:cTn id="31" dur="500" fill="hold"/>
                                        <p:tgtEl>
                                          <p:spTgt spid="17"/>
                                        </p:tgtEl>
                                        <p:attrNameLst>
                                          <p:attrName>ppt_x</p:attrName>
                                        </p:attrNameLst>
                                      </p:cBhvr>
                                      <p:tavLst>
                                        <p:tav tm="0">
                                          <p:val>
                                            <p:fltVal val="0.5"/>
                                          </p:val>
                                        </p:tav>
                                        <p:tav tm="100000">
                                          <p:val>
                                            <p:strVal val="#ppt_x"/>
                                          </p:val>
                                        </p:tav>
                                      </p:tavLst>
                                    </p:anim>
                                    <p:anim calcmode="lin" valueType="num">
                                      <p:cBhvr>
                                        <p:cTn id="32" dur="500" fill="hold"/>
                                        <p:tgtEl>
                                          <p:spTgt spid="17"/>
                                        </p:tgtEl>
                                        <p:attrNameLst>
                                          <p:attrName>ppt_y</p:attrName>
                                        </p:attrNameLst>
                                      </p:cBhvr>
                                      <p:tavLst>
                                        <p:tav tm="0">
                                          <p:val>
                                            <p:fltVal val="0.5"/>
                                          </p:val>
                                        </p:tav>
                                        <p:tav tm="100000">
                                          <p:val>
                                            <p:strVal val="#ppt_y"/>
                                          </p:val>
                                        </p:tav>
                                      </p:tavLst>
                                    </p:anim>
                                  </p:childTnLst>
                                </p:cTn>
                              </p:par>
                            </p:childTnLst>
                          </p:cTn>
                        </p:par>
                        <p:par>
                          <p:cTn id="33" fill="hold">
                            <p:stCondLst>
                              <p:cond delay="1250"/>
                            </p:stCondLst>
                            <p:childTnLst>
                              <p:par>
                                <p:cTn id="34" presetID="37" presetClass="entr" presetSubtype="0" fill="hold"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anim calcmode="lin" valueType="num">
                                      <p:cBhvr>
                                        <p:cTn id="37" dur="500" fill="hold"/>
                                        <p:tgtEl>
                                          <p:spTgt spid="8"/>
                                        </p:tgtEl>
                                        <p:attrNameLst>
                                          <p:attrName>ppt_x</p:attrName>
                                        </p:attrNameLst>
                                      </p:cBhvr>
                                      <p:tavLst>
                                        <p:tav tm="0">
                                          <p:val>
                                            <p:strVal val="#ppt_x"/>
                                          </p:val>
                                        </p:tav>
                                        <p:tav tm="100000">
                                          <p:val>
                                            <p:strVal val="#ppt_x"/>
                                          </p:val>
                                        </p:tav>
                                      </p:tavLst>
                                    </p:anim>
                                    <p:anim calcmode="lin" valueType="num">
                                      <p:cBhvr>
                                        <p:cTn id="38" dur="450" decel="100000" fill="hold"/>
                                        <p:tgtEl>
                                          <p:spTgt spid="8"/>
                                        </p:tgtEl>
                                        <p:attrNameLst>
                                          <p:attrName>ppt_y</p:attrName>
                                        </p:attrNameLst>
                                      </p:cBhvr>
                                      <p:tavLst>
                                        <p:tav tm="0">
                                          <p:val>
                                            <p:strVal val="#ppt_y+1"/>
                                          </p:val>
                                        </p:tav>
                                        <p:tav tm="100000">
                                          <p:val>
                                            <p:strVal val="#ppt_y-.03"/>
                                          </p:val>
                                        </p:tav>
                                      </p:tavLst>
                                    </p:anim>
                                    <p:anim calcmode="lin" valueType="num">
                                      <p:cBhvr>
                                        <p:cTn id="39"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par>
                                <p:cTn id="40" presetID="37" presetClass="entr" presetSubtype="0" fill="hold" nodeType="withEffect">
                                  <p:stCondLst>
                                    <p:cond delay="25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anim calcmode="lin" valueType="num">
                                      <p:cBhvr>
                                        <p:cTn id="43" dur="500" fill="hold"/>
                                        <p:tgtEl>
                                          <p:spTgt spid="26"/>
                                        </p:tgtEl>
                                        <p:attrNameLst>
                                          <p:attrName>ppt_x</p:attrName>
                                        </p:attrNameLst>
                                      </p:cBhvr>
                                      <p:tavLst>
                                        <p:tav tm="0">
                                          <p:val>
                                            <p:strVal val="#ppt_x"/>
                                          </p:val>
                                        </p:tav>
                                        <p:tav tm="100000">
                                          <p:val>
                                            <p:strVal val="#ppt_x"/>
                                          </p:val>
                                        </p:tav>
                                      </p:tavLst>
                                    </p:anim>
                                    <p:anim calcmode="lin" valueType="num">
                                      <p:cBhvr>
                                        <p:cTn id="44" dur="450" decel="100000" fill="hold"/>
                                        <p:tgtEl>
                                          <p:spTgt spid="26"/>
                                        </p:tgtEl>
                                        <p:attrNameLst>
                                          <p:attrName>ppt_y</p:attrName>
                                        </p:attrNameLst>
                                      </p:cBhvr>
                                      <p:tavLst>
                                        <p:tav tm="0">
                                          <p:val>
                                            <p:strVal val="#ppt_y+1"/>
                                          </p:val>
                                        </p:tav>
                                        <p:tav tm="100000">
                                          <p:val>
                                            <p:strVal val="#ppt_y-.03"/>
                                          </p:val>
                                        </p:tav>
                                      </p:tavLst>
                                    </p:anim>
                                    <p:anim calcmode="lin" valueType="num">
                                      <p:cBhvr>
                                        <p:cTn id="45"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par>
                                <p:cTn id="46" presetID="37" presetClass="entr" presetSubtype="0" fill="hold" nodeType="withEffect">
                                  <p:stCondLst>
                                    <p:cond delay="50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500"/>
                                        <p:tgtEl>
                                          <p:spTgt spid="29"/>
                                        </p:tgtEl>
                                      </p:cBhvr>
                                    </p:animEffect>
                                    <p:anim calcmode="lin" valueType="num">
                                      <p:cBhvr>
                                        <p:cTn id="49" dur="500" fill="hold"/>
                                        <p:tgtEl>
                                          <p:spTgt spid="29"/>
                                        </p:tgtEl>
                                        <p:attrNameLst>
                                          <p:attrName>ppt_x</p:attrName>
                                        </p:attrNameLst>
                                      </p:cBhvr>
                                      <p:tavLst>
                                        <p:tav tm="0">
                                          <p:val>
                                            <p:strVal val="#ppt_x"/>
                                          </p:val>
                                        </p:tav>
                                        <p:tav tm="100000">
                                          <p:val>
                                            <p:strVal val="#ppt_x"/>
                                          </p:val>
                                        </p:tav>
                                      </p:tavLst>
                                    </p:anim>
                                    <p:anim calcmode="lin" valueType="num">
                                      <p:cBhvr>
                                        <p:cTn id="50" dur="450" decel="100000" fill="hold"/>
                                        <p:tgtEl>
                                          <p:spTgt spid="29"/>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29"/>
                                        </p:tgtEl>
                                        <p:attrNameLst>
                                          <p:attrName>ppt_y</p:attrName>
                                        </p:attrNameLst>
                                      </p:cBhvr>
                                      <p:tavLst>
                                        <p:tav tm="0">
                                          <p:val>
                                            <p:strVal val="#ppt_y-.03"/>
                                          </p:val>
                                        </p:tav>
                                        <p:tav tm="100000">
                                          <p:val>
                                            <p:strVal val="#ppt_y"/>
                                          </p:val>
                                        </p:tav>
                                      </p:tavLst>
                                    </p:anim>
                                  </p:childTnLst>
                                </p:cTn>
                              </p:par>
                              <p:par>
                                <p:cTn id="52" presetID="37" presetClass="entr" presetSubtype="0" fill="hold" nodeType="withEffect">
                                  <p:stCondLst>
                                    <p:cond delay="7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anim calcmode="lin" valueType="num">
                                      <p:cBhvr>
                                        <p:cTn id="55" dur="500" fill="hold"/>
                                        <p:tgtEl>
                                          <p:spTgt spid="23"/>
                                        </p:tgtEl>
                                        <p:attrNameLst>
                                          <p:attrName>ppt_x</p:attrName>
                                        </p:attrNameLst>
                                      </p:cBhvr>
                                      <p:tavLst>
                                        <p:tav tm="0">
                                          <p:val>
                                            <p:strVal val="#ppt_x"/>
                                          </p:val>
                                        </p:tav>
                                        <p:tav tm="100000">
                                          <p:val>
                                            <p:strVal val="#ppt_x"/>
                                          </p:val>
                                        </p:tav>
                                      </p:tavLst>
                                    </p:anim>
                                    <p:anim calcmode="lin" valueType="num">
                                      <p:cBhvr>
                                        <p:cTn id="56" dur="450" decel="100000" fill="hold"/>
                                        <p:tgtEl>
                                          <p:spTgt spid="23"/>
                                        </p:tgtEl>
                                        <p:attrNameLst>
                                          <p:attrName>ppt_y</p:attrName>
                                        </p:attrNameLst>
                                      </p:cBhvr>
                                      <p:tavLst>
                                        <p:tav tm="0">
                                          <p:val>
                                            <p:strVal val="#ppt_y+1"/>
                                          </p:val>
                                        </p:tav>
                                        <p:tav tm="100000">
                                          <p:val>
                                            <p:strVal val="#ppt_y-.03"/>
                                          </p:val>
                                        </p:tav>
                                      </p:tavLst>
                                    </p:anim>
                                    <p:anim calcmode="lin" valueType="num">
                                      <p:cBhvr>
                                        <p:cTn id="57" dur="50" accel="100000" fill="hold">
                                          <p:stCondLst>
                                            <p:cond delay="45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37"/>
          <p:cNvSpPr txBox="1"/>
          <p:nvPr/>
        </p:nvSpPr>
        <p:spPr>
          <a:xfrm>
            <a:off x="5794177" y="2180035"/>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FZSJ-YANGGNH" panose="02010600010101010101" pitchFamily="2" charset="-122"/>
                <a:ea typeface="FZSJ-YANGGNH" panose="02010600010101010101" pitchFamily="2" charset="-122"/>
              </a:rPr>
              <a:t>您的内容打在这里，或者通过复制您的内容，您的内容打在这里，或者通过复制您的内容，</a:t>
            </a:r>
          </a:p>
        </p:txBody>
      </p:sp>
      <p:sp>
        <p:nvSpPr>
          <p:cNvPr id="9" name="空心弧 4"/>
          <p:cNvSpPr>
            <a:spLocks/>
          </p:cNvSpPr>
          <p:nvPr/>
        </p:nvSpPr>
        <p:spPr bwMode="auto">
          <a:xfrm rot="16200000">
            <a:off x="855465" y="1597819"/>
            <a:ext cx="2532460" cy="2532460"/>
          </a:xfrm>
          <a:custGeom>
            <a:avLst/>
            <a:gdLst>
              <a:gd name="T0" fmla="*/ 954518 w 21600"/>
              <a:gd name="T1" fmla="*/ 2897635 h 21600"/>
              <a:gd name="T2" fmla="*/ 273724 w 21600"/>
              <a:gd name="T3" fmla="*/ 1688307 h 21600"/>
              <a:gd name="T4" fmla="*/ 1688306 w 21600"/>
              <a:gd name="T5" fmla="*/ 273725 h 21600"/>
              <a:gd name="T6" fmla="*/ 3102888 w 21600"/>
              <a:gd name="T7" fmla="*/ 1688307 h 21600"/>
              <a:gd name="T8" fmla="*/ 2421937 w 21600"/>
              <a:gd name="T9" fmla="*/ 2897635 h 21600"/>
              <a:gd name="T10" fmla="*/ 2563880 w 21600"/>
              <a:gd name="T11" fmla="*/ 3131653 h 21600"/>
              <a:gd name="T12" fmla="*/ 3376612 w 21600"/>
              <a:gd name="T13" fmla="*/ 1688307 h 21600"/>
              <a:gd name="T14" fmla="*/ 1688306 w 21600"/>
              <a:gd name="T15" fmla="*/ 0 h 21600"/>
              <a:gd name="T16" fmla="*/ 0 w 21600"/>
              <a:gd name="T17" fmla="*/ 1688307 h 21600"/>
              <a:gd name="T18" fmla="*/ 812575 w 21600"/>
              <a:gd name="T19" fmla="*/ 3131653 h 21600"/>
              <a:gd name="T20" fmla="*/ 954518 w 21600"/>
              <a:gd name="T21" fmla="*/ 2897635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18772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chemeClr val="tx1">
              <a:alpha val="83920"/>
            </a:schemeClr>
          </a:solidFill>
          <a:ln>
            <a:noFill/>
          </a:ln>
        </p:spPr>
        <p:txBody>
          <a:bodyPr anchor="ctr"/>
          <a:lstStyle/>
          <a:p>
            <a:endParaRPr lang="zh-CN" altLang="en-US" sz="1069">
              <a:solidFill>
                <a:schemeClr val="accent1"/>
              </a:solidFill>
              <a:latin typeface="FZSJ-YANGGNH" panose="02010600010101010101" pitchFamily="2" charset="-122"/>
              <a:ea typeface="FZSJ-YANGGNH" panose="02010600010101010101" pitchFamily="2" charset="-122"/>
            </a:endParaRPr>
          </a:p>
        </p:txBody>
      </p:sp>
      <p:sp>
        <p:nvSpPr>
          <p:cNvPr id="10" name="矩形 5"/>
          <p:cNvSpPr>
            <a:spLocks noChangeArrowheads="1"/>
          </p:cNvSpPr>
          <p:nvPr/>
        </p:nvSpPr>
        <p:spPr bwMode="auto">
          <a:xfrm>
            <a:off x="1538883" y="2668191"/>
            <a:ext cx="13238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eaLnBrk="1" hangingPunct="1"/>
            <a:r>
              <a:rPr lang="zh-CN" altLang="en-US" sz="2100" b="1" dirty="0">
                <a:latin typeface="FZSJ-YANGGNH" panose="02010600010101010101" pitchFamily="2" charset="-122"/>
                <a:ea typeface="FZSJ-YANGGNH" panose="02010600010101010101" pitchFamily="2" charset="-122"/>
                <a:sym typeface="宋体" panose="02010600030101010101" pitchFamily="2" charset="-122"/>
              </a:rPr>
              <a:t>添加内容</a:t>
            </a:r>
          </a:p>
        </p:txBody>
      </p:sp>
      <p:grpSp>
        <p:nvGrpSpPr>
          <p:cNvPr id="11" name="组合 10"/>
          <p:cNvGrpSpPr>
            <a:grpSpLocks/>
          </p:cNvGrpSpPr>
          <p:nvPr/>
        </p:nvGrpSpPr>
        <p:grpSpPr bwMode="auto">
          <a:xfrm>
            <a:off x="5306021" y="1831180"/>
            <a:ext cx="1600200" cy="346249"/>
            <a:chOff x="7073484" y="2441806"/>
            <a:chExt cx="2134334" cy="460876"/>
          </a:xfrm>
        </p:grpSpPr>
        <p:sp>
          <p:nvSpPr>
            <p:cNvPr id="12" name="TextBox 138"/>
            <p:cNvSpPr txBox="1">
              <a:spLocks noChangeArrowheads="1"/>
            </p:cNvSpPr>
            <p:nvPr/>
          </p:nvSpPr>
          <p:spPr bwMode="auto">
            <a:xfrm>
              <a:off x="7433542" y="2441806"/>
              <a:ext cx="1774276" cy="46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FZSJ-YANGGNH" panose="02010600010101010101" pitchFamily="2" charset="-122"/>
                  <a:ea typeface="FZSJ-YANGGNH" panose="02010600010101010101" pitchFamily="2" charset="-122"/>
                  <a:cs typeface="华文黑体" charset="-122"/>
                </a:rPr>
                <a:t>添加标题</a:t>
              </a:r>
            </a:p>
          </p:txBody>
        </p:sp>
        <p:sp>
          <p:nvSpPr>
            <p:cNvPr id="13" name="矩形 22"/>
            <p:cNvSpPr>
              <a:spLocks noChangeArrowheads="1"/>
            </p:cNvSpPr>
            <p:nvPr/>
          </p:nvSpPr>
          <p:spPr bwMode="auto">
            <a:xfrm>
              <a:off x="7073484" y="2574698"/>
              <a:ext cx="360058" cy="23079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FZSJ-YANGGNH" panose="02010600010101010101" pitchFamily="2" charset="-122"/>
                <a:ea typeface="FZSJ-YANGGNH" panose="02010600010101010101" pitchFamily="2" charset="-122"/>
                <a:sym typeface="宋体" panose="02010600030101010101" pitchFamily="2" charset="-122"/>
              </a:endParaRPr>
            </a:p>
          </p:txBody>
        </p:sp>
      </p:grpSp>
      <p:sp>
        <p:nvSpPr>
          <p:cNvPr id="14" name="TextBox 71"/>
          <p:cNvSpPr txBox="1"/>
          <p:nvPr/>
        </p:nvSpPr>
        <p:spPr>
          <a:xfrm>
            <a:off x="5794177" y="2953941"/>
            <a:ext cx="2787254"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FZSJ-YANGGNH" panose="02010600010101010101" pitchFamily="2" charset="-122"/>
                <a:ea typeface="FZSJ-YANGGNH" panose="02010600010101010101" pitchFamily="2" charset="-122"/>
              </a:rPr>
              <a:t>您的内容打在这里，或者通过复制您的内容，您的内容打在这里，或者通过复制您的内容，</a:t>
            </a:r>
          </a:p>
        </p:txBody>
      </p:sp>
      <p:grpSp>
        <p:nvGrpSpPr>
          <p:cNvPr id="15" name="组合 14"/>
          <p:cNvGrpSpPr>
            <a:grpSpLocks/>
          </p:cNvGrpSpPr>
          <p:nvPr/>
        </p:nvGrpSpPr>
        <p:grpSpPr bwMode="auto">
          <a:xfrm>
            <a:off x="5306021" y="2605087"/>
            <a:ext cx="1600200" cy="346249"/>
            <a:chOff x="7073484" y="3472766"/>
            <a:chExt cx="2134334" cy="462959"/>
          </a:xfrm>
        </p:grpSpPr>
        <p:sp>
          <p:nvSpPr>
            <p:cNvPr id="16" name="TextBox 72"/>
            <p:cNvSpPr txBox="1">
              <a:spLocks noChangeArrowheads="1"/>
            </p:cNvSpPr>
            <p:nvPr/>
          </p:nvSpPr>
          <p:spPr bwMode="auto">
            <a:xfrm>
              <a:off x="7433542" y="3472766"/>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solidFill>
                    <a:schemeClr val="bg1"/>
                  </a:solidFill>
                  <a:latin typeface="FZSJ-YANGGNH" panose="02010600010101010101" pitchFamily="2" charset="-122"/>
                  <a:ea typeface="FZSJ-YANGGNH" panose="02010600010101010101" pitchFamily="2" charset="-122"/>
                  <a:cs typeface="华文黑体" charset="-122"/>
                </a:rPr>
                <a:t>添加标题</a:t>
              </a:r>
            </a:p>
          </p:txBody>
        </p:sp>
        <p:sp>
          <p:nvSpPr>
            <p:cNvPr id="17" name="矩形 22"/>
            <p:cNvSpPr>
              <a:spLocks noChangeArrowheads="1"/>
            </p:cNvSpPr>
            <p:nvPr/>
          </p:nvSpPr>
          <p:spPr bwMode="auto">
            <a:xfrm>
              <a:off x="7073484" y="3605658"/>
              <a:ext cx="360058" cy="2307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FZSJ-YANGGNH" panose="02010600010101010101" pitchFamily="2" charset="-122"/>
                <a:ea typeface="FZSJ-YANGGNH" panose="02010600010101010101" pitchFamily="2" charset="-122"/>
                <a:sym typeface="宋体" panose="02010600030101010101" pitchFamily="2" charset="-122"/>
              </a:endParaRPr>
            </a:p>
          </p:txBody>
        </p:sp>
      </p:grpSp>
      <p:sp>
        <p:nvSpPr>
          <p:cNvPr id="18" name="TextBox 74"/>
          <p:cNvSpPr txBox="1"/>
          <p:nvPr/>
        </p:nvSpPr>
        <p:spPr>
          <a:xfrm>
            <a:off x="5794177" y="3750469"/>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FZSJ-YANGGNH" panose="02010600010101010101" pitchFamily="2" charset="-122"/>
                <a:ea typeface="FZSJ-YANGGNH" panose="02010600010101010101" pitchFamily="2" charset="-122"/>
              </a:rPr>
              <a:t>您的内容打在这里，或者通过复制您的内容，您的内容打在这里，或者通过复制您的内容，</a:t>
            </a:r>
          </a:p>
        </p:txBody>
      </p:sp>
      <p:grpSp>
        <p:nvGrpSpPr>
          <p:cNvPr id="19" name="组合 18"/>
          <p:cNvGrpSpPr>
            <a:grpSpLocks/>
          </p:cNvGrpSpPr>
          <p:nvPr/>
        </p:nvGrpSpPr>
        <p:grpSpPr bwMode="auto">
          <a:xfrm>
            <a:off x="5306021" y="3401615"/>
            <a:ext cx="1600200" cy="346249"/>
            <a:chOff x="7073484" y="4534743"/>
            <a:chExt cx="2134334" cy="462959"/>
          </a:xfrm>
        </p:grpSpPr>
        <p:sp>
          <p:nvSpPr>
            <p:cNvPr id="20" name="TextBox 75"/>
            <p:cNvSpPr txBox="1">
              <a:spLocks noChangeArrowheads="1"/>
            </p:cNvSpPr>
            <p:nvPr/>
          </p:nvSpPr>
          <p:spPr bwMode="auto">
            <a:xfrm>
              <a:off x="7433542" y="4534743"/>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FZSJ-YANGGNH" panose="02010600010101010101" pitchFamily="2" charset="-122"/>
                  <a:ea typeface="FZSJ-YANGGNH" panose="02010600010101010101" pitchFamily="2" charset="-122"/>
                  <a:cs typeface="华文黑体" charset="-122"/>
                </a:rPr>
                <a:t>添加标题</a:t>
              </a:r>
            </a:p>
          </p:txBody>
        </p:sp>
        <p:sp>
          <p:nvSpPr>
            <p:cNvPr id="21" name="矩形 22"/>
            <p:cNvSpPr>
              <a:spLocks noChangeArrowheads="1"/>
            </p:cNvSpPr>
            <p:nvPr/>
          </p:nvSpPr>
          <p:spPr bwMode="auto">
            <a:xfrm>
              <a:off x="7073484" y="4667635"/>
              <a:ext cx="360058" cy="230796"/>
            </a:xfrm>
            <a:prstGeom prst="rect">
              <a:avLst/>
            </a:prstGeom>
            <a:solidFill>
              <a:schemeClr val="tx1">
                <a:alpha val="7294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FZSJ-YANGGNH" panose="02010600010101010101" pitchFamily="2" charset="-122"/>
                <a:ea typeface="FZSJ-YANGGNH" panose="02010600010101010101" pitchFamily="2" charset="-122"/>
                <a:sym typeface="宋体" panose="02010600030101010101" pitchFamily="2" charset="-122"/>
              </a:endParaRPr>
            </a:p>
          </p:txBody>
        </p:sp>
      </p:grpSp>
      <p:grpSp>
        <p:nvGrpSpPr>
          <p:cNvPr id="22" name="组合 21"/>
          <p:cNvGrpSpPr>
            <a:grpSpLocks/>
          </p:cNvGrpSpPr>
          <p:nvPr/>
        </p:nvGrpSpPr>
        <p:grpSpPr bwMode="auto">
          <a:xfrm>
            <a:off x="1232893" y="1960960"/>
            <a:ext cx="1804988" cy="1803797"/>
            <a:chOff x="1642796" y="2615022"/>
            <a:chExt cx="2407382" cy="2405286"/>
          </a:xfrm>
          <a:solidFill>
            <a:schemeClr val="bg1"/>
          </a:solidFill>
        </p:grpSpPr>
        <p:sp>
          <p:nvSpPr>
            <p:cNvPr id="23" name="空心弧 3"/>
            <p:cNvSpPr>
              <a:spLocks/>
            </p:cNvSpPr>
            <p:nvPr/>
          </p:nvSpPr>
          <p:spPr bwMode="auto">
            <a:xfrm rot="-6297671">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FZSJ-YANGGNH" panose="02010600010101010101" pitchFamily="2" charset="-122"/>
                <a:ea typeface="FZSJ-YANGGNH" panose="02010600010101010101" pitchFamily="2" charset="-122"/>
              </a:endParaRPr>
            </a:p>
          </p:txBody>
        </p:sp>
        <p:sp>
          <p:nvSpPr>
            <p:cNvPr id="24" name="空心弧 3"/>
            <p:cNvSpPr>
              <a:spLocks/>
            </p:cNvSpPr>
            <p:nvPr/>
          </p:nvSpPr>
          <p:spPr bwMode="auto">
            <a:xfrm rot="7872149">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FZSJ-YANGGNH" panose="02010600010101010101" pitchFamily="2" charset="-122"/>
                <a:ea typeface="FZSJ-YANGGNH" panose="02010600010101010101" pitchFamily="2" charset="-122"/>
              </a:endParaRPr>
            </a:p>
          </p:txBody>
        </p:sp>
      </p:grpSp>
      <p:grpSp>
        <p:nvGrpSpPr>
          <p:cNvPr id="25" name="组合 24"/>
          <p:cNvGrpSpPr>
            <a:grpSpLocks/>
          </p:cNvGrpSpPr>
          <p:nvPr/>
        </p:nvGrpSpPr>
        <p:grpSpPr bwMode="auto">
          <a:xfrm>
            <a:off x="3010496" y="1999060"/>
            <a:ext cx="2295525" cy="1588294"/>
            <a:chOff x="4013318" y="2665635"/>
            <a:chExt cx="3060168" cy="2117398"/>
          </a:xfrm>
        </p:grpSpPr>
        <p:cxnSp>
          <p:nvCxnSpPr>
            <p:cNvPr id="26" name="直接连接符 25"/>
            <p:cNvCxnSpPr/>
            <p:nvPr/>
          </p:nvCxnSpPr>
          <p:spPr>
            <a:xfrm flipH="1">
              <a:off x="4151407" y="2665635"/>
              <a:ext cx="2922079" cy="241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21" idx="1"/>
            </p:cNvCxnSpPr>
            <p:nvPr/>
          </p:nvCxnSpPr>
          <p:spPr>
            <a:xfrm flipH="1" flipV="1">
              <a:off x="4151407" y="4535421"/>
              <a:ext cx="2922079" cy="247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4013318" y="3708461"/>
              <a:ext cx="3060168" cy="109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889327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right)">
                                      <p:cBhvr>
                                        <p:cTn id="7" dur="500"/>
                                        <p:tgtEl>
                                          <p:spTgt spid="2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par>
                                <p:cTn id="12" presetID="22" presetClass="entr" presetSubtype="2" fill="hold" grpId="0" nodeType="withEffect">
                                  <p:stCondLst>
                                    <p:cond delay="30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left)">
                                      <p:cBhvr>
                                        <p:cTn id="18" dur="500"/>
                                        <p:tgtEl>
                                          <p:spTgt spid="25"/>
                                        </p:tgtEl>
                                      </p:cBhvr>
                                    </p:animEffect>
                                  </p:childTnLst>
                                </p:cTn>
                              </p:par>
                            </p:childTnLst>
                          </p:cTn>
                        </p:par>
                        <p:par>
                          <p:cTn id="19" fill="hold">
                            <p:stCondLst>
                              <p:cond delay="1800"/>
                            </p:stCondLst>
                            <p:childTnLst>
                              <p:par>
                                <p:cTn id="20" presetID="12" presetClass="entr" presetSubtype="4"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p:tgtEl>
                                          <p:spTgt spid="11"/>
                                        </p:tgtEl>
                                        <p:attrNameLst>
                                          <p:attrName>ppt_y</p:attrName>
                                        </p:attrNameLst>
                                      </p:cBhvr>
                                      <p:tavLst>
                                        <p:tav tm="0">
                                          <p:val>
                                            <p:strVal val="#ppt_y+#ppt_h*1.125000"/>
                                          </p:val>
                                        </p:tav>
                                        <p:tav tm="100000">
                                          <p:val>
                                            <p:strVal val="#ppt_y"/>
                                          </p:val>
                                        </p:tav>
                                      </p:tavLst>
                                    </p:anim>
                                    <p:animEffect transition="in" filter="wipe(up)">
                                      <p:cBhvr>
                                        <p:cTn id="23" dur="500"/>
                                        <p:tgtEl>
                                          <p:spTgt spid="11"/>
                                        </p:tgtEl>
                                      </p:cBhvr>
                                    </p:animEffect>
                                  </p:childTnLst>
                                </p:cTn>
                              </p:par>
                            </p:childTnLst>
                          </p:cTn>
                        </p:par>
                        <p:par>
                          <p:cTn id="24" fill="hold">
                            <p:stCondLst>
                              <p:cond delay="2300"/>
                            </p:stCondLst>
                            <p:childTnLst>
                              <p:par>
                                <p:cTn id="25" presetID="14" presetClass="entr" presetSubtype="1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randombar(horizontal)">
                                      <p:cBhvr>
                                        <p:cTn id="27" dur="500"/>
                                        <p:tgtEl>
                                          <p:spTgt spid="8"/>
                                        </p:tgtEl>
                                      </p:cBhvr>
                                    </p:animEffect>
                                  </p:childTnLst>
                                </p:cTn>
                              </p:par>
                            </p:childTnLst>
                          </p:cTn>
                        </p:par>
                        <p:par>
                          <p:cTn id="28" fill="hold">
                            <p:stCondLst>
                              <p:cond delay="2800"/>
                            </p:stCondLst>
                            <p:childTnLst>
                              <p:par>
                                <p:cTn id="29" presetID="12" presetClass="entr" presetSubtype="4"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p:tgtEl>
                                          <p:spTgt spid="15"/>
                                        </p:tgtEl>
                                        <p:attrNameLst>
                                          <p:attrName>ppt_y</p:attrName>
                                        </p:attrNameLst>
                                      </p:cBhvr>
                                      <p:tavLst>
                                        <p:tav tm="0">
                                          <p:val>
                                            <p:strVal val="#ppt_y+#ppt_h*1.125000"/>
                                          </p:val>
                                        </p:tav>
                                        <p:tav tm="100000">
                                          <p:val>
                                            <p:strVal val="#ppt_y"/>
                                          </p:val>
                                        </p:tav>
                                      </p:tavLst>
                                    </p:anim>
                                    <p:animEffect transition="in" filter="wipe(up)">
                                      <p:cBhvr>
                                        <p:cTn id="32" dur="500"/>
                                        <p:tgtEl>
                                          <p:spTgt spid="15"/>
                                        </p:tgtEl>
                                      </p:cBhvr>
                                    </p:animEffect>
                                  </p:childTnLst>
                                </p:cTn>
                              </p:par>
                            </p:childTnLst>
                          </p:cTn>
                        </p:par>
                        <p:par>
                          <p:cTn id="33" fill="hold">
                            <p:stCondLst>
                              <p:cond delay="3300"/>
                            </p:stCondLst>
                            <p:childTnLst>
                              <p:par>
                                <p:cTn id="34" presetID="14" presetClass="entr" presetSubtype="10"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randombar(horizontal)">
                                      <p:cBhvr>
                                        <p:cTn id="36" dur="500"/>
                                        <p:tgtEl>
                                          <p:spTgt spid="14"/>
                                        </p:tgtEl>
                                      </p:cBhvr>
                                    </p:animEffect>
                                  </p:childTnLst>
                                </p:cTn>
                              </p:par>
                            </p:childTnLst>
                          </p:cTn>
                        </p:par>
                        <p:par>
                          <p:cTn id="37" fill="hold">
                            <p:stCondLst>
                              <p:cond delay="3800"/>
                            </p:stCondLst>
                            <p:childTnLst>
                              <p:par>
                                <p:cTn id="38" presetID="12" presetClass="entr" presetSubtype="4" fill="hold" nodeType="afterEffect">
                                  <p:stCondLst>
                                    <p:cond delay="0"/>
                                  </p:stCondLst>
                                  <p:childTnLst>
                                    <p:set>
                                      <p:cBhvr>
                                        <p:cTn id="39" dur="1" fill="hold">
                                          <p:stCondLst>
                                            <p:cond delay="0"/>
                                          </p:stCondLst>
                                        </p:cTn>
                                        <p:tgtEl>
                                          <p:spTgt spid="19"/>
                                        </p:tgtEl>
                                        <p:attrNameLst>
                                          <p:attrName>style.visibility</p:attrName>
                                        </p:attrNameLst>
                                      </p:cBhvr>
                                      <p:to>
                                        <p:strVal val="visible"/>
                                      </p:to>
                                    </p:set>
                                    <p:anim calcmode="lin" valueType="num">
                                      <p:cBhvr additive="base">
                                        <p:cTn id="40" dur="500"/>
                                        <p:tgtEl>
                                          <p:spTgt spid="19"/>
                                        </p:tgtEl>
                                        <p:attrNameLst>
                                          <p:attrName>ppt_y</p:attrName>
                                        </p:attrNameLst>
                                      </p:cBhvr>
                                      <p:tavLst>
                                        <p:tav tm="0">
                                          <p:val>
                                            <p:strVal val="#ppt_y+#ppt_h*1.125000"/>
                                          </p:val>
                                        </p:tav>
                                        <p:tav tm="100000">
                                          <p:val>
                                            <p:strVal val="#ppt_y"/>
                                          </p:val>
                                        </p:tav>
                                      </p:tavLst>
                                    </p:anim>
                                    <p:animEffect transition="in" filter="wipe(up)">
                                      <p:cBhvr>
                                        <p:cTn id="41" dur="500"/>
                                        <p:tgtEl>
                                          <p:spTgt spid="19"/>
                                        </p:tgtEl>
                                      </p:cBhvr>
                                    </p:animEffect>
                                  </p:childTnLst>
                                </p:cTn>
                              </p:par>
                            </p:childTnLst>
                          </p:cTn>
                        </p:par>
                        <p:par>
                          <p:cTn id="42" fill="hold">
                            <p:stCondLst>
                              <p:cond delay="4300"/>
                            </p:stCondLst>
                            <p:childTnLst>
                              <p:par>
                                <p:cTn id="43" presetID="14" presetClass="entr" presetSubtype="1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randombar(horizontal)">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4"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4"/>
          <p:cNvSpPr>
            <a:spLocks/>
          </p:cNvSpPr>
          <p:nvPr/>
        </p:nvSpPr>
        <p:spPr bwMode="gray">
          <a:xfrm>
            <a:off x="5073650" y="1101366"/>
            <a:ext cx="1135460" cy="889619"/>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chemeClr val="tx2"/>
          </a:solidFill>
          <a:ln w="12700">
            <a:noFill/>
            <a:prstDash val="solid"/>
            <a:round/>
            <a:headEnd/>
            <a:tailEnd/>
          </a:ln>
        </p:spPr>
        <p:txBody>
          <a:bodyPr/>
          <a:lstStyle/>
          <a:p>
            <a:pPr>
              <a:defRPr/>
            </a:pPr>
            <a:endParaRPr lang="zh-CN" altLang="en-US">
              <a:latin typeface="FZSJ-YANGGNH" panose="02010600010101010101" pitchFamily="2" charset="-122"/>
              <a:ea typeface="FZSJ-YANGGNH" panose="02010600010101010101" pitchFamily="2" charset="-122"/>
            </a:endParaRPr>
          </a:p>
        </p:txBody>
      </p:sp>
      <p:grpSp>
        <p:nvGrpSpPr>
          <p:cNvPr id="19" name="组合 18"/>
          <p:cNvGrpSpPr/>
          <p:nvPr/>
        </p:nvGrpSpPr>
        <p:grpSpPr>
          <a:xfrm>
            <a:off x="3594498" y="1884760"/>
            <a:ext cx="1803797" cy="440532"/>
            <a:chOff x="3268663" y="2513013"/>
            <a:chExt cx="2405063" cy="587376"/>
          </a:xfrm>
        </p:grpSpPr>
        <p:sp>
          <p:nvSpPr>
            <p:cNvPr id="20" name="Freeform 21"/>
            <p:cNvSpPr>
              <a:spLocks/>
            </p:cNvSpPr>
            <p:nvPr/>
          </p:nvSpPr>
          <p:spPr bwMode="auto">
            <a:xfrm>
              <a:off x="3268663" y="2513013"/>
              <a:ext cx="2405063" cy="587375"/>
            </a:xfrm>
            <a:custGeom>
              <a:avLst/>
              <a:gdLst>
                <a:gd name="T0" fmla="*/ 1515 w 1515"/>
                <a:gd name="T1" fmla="*/ 124 h 370"/>
                <a:gd name="T2" fmla="*/ 1245 w 1515"/>
                <a:gd name="T3" fmla="*/ 124 h 370"/>
                <a:gd name="T4" fmla="*/ 1245 w 1515"/>
                <a:gd name="T5" fmla="*/ 0 h 370"/>
                <a:gd name="T6" fmla="*/ 269 w 1515"/>
                <a:gd name="T7" fmla="*/ 0 h 370"/>
                <a:gd name="T8" fmla="*/ 269 w 1515"/>
                <a:gd name="T9" fmla="*/ 124 h 370"/>
                <a:gd name="T10" fmla="*/ 0 w 1515"/>
                <a:gd name="T11" fmla="*/ 124 h 370"/>
                <a:gd name="T12" fmla="*/ 123 w 1515"/>
                <a:gd name="T13" fmla="*/ 247 h 370"/>
                <a:gd name="T14" fmla="*/ 0 w 1515"/>
                <a:gd name="T15" fmla="*/ 370 h 370"/>
                <a:gd name="T16" fmla="*/ 386 w 1515"/>
                <a:gd name="T17" fmla="*/ 370 h 370"/>
                <a:gd name="T18" fmla="*/ 386 w 1515"/>
                <a:gd name="T19" fmla="*/ 249 h 370"/>
                <a:gd name="T20" fmla="*/ 1128 w 1515"/>
                <a:gd name="T21" fmla="*/ 249 h 370"/>
                <a:gd name="T22" fmla="*/ 1128 w 1515"/>
                <a:gd name="T23" fmla="*/ 370 h 370"/>
                <a:gd name="T24" fmla="*/ 1515 w 1515"/>
                <a:gd name="T25" fmla="*/ 370 h 370"/>
                <a:gd name="T26" fmla="*/ 1391 w 1515"/>
                <a:gd name="T27" fmla="*/ 247 h 370"/>
                <a:gd name="T28" fmla="*/ 1515 w 1515"/>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5" h="370">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21" name="Freeform 22"/>
            <p:cNvSpPr>
              <a:spLocks/>
            </p:cNvSpPr>
            <p:nvPr/>
          </p:nvSpPr>
          <p:spPr bwMode="auto">
            <a:xfrm>
              <a:off x="5059363" y="2892426"/>
              <a:ext cx="185738" cy="207963"/>
            </a:xfrm>
            <a:custGeom>
              <a:avLst/>
              <a:gdLst>
                <a:gd name="T0" fmla="*/ 0 w 117"/>
                <a:gd name="T1" fmla="*/ 131 h 131"/>
                <a:gd name="T2" fmla="*/ 117 w 117"/>
                <a:gd name="T3" fmla="*/ 10 h 131"/>
                <a:gd name="T4" fmla="*/ 109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09" y="0"/>
                  </a:lnTo>
                  <a:lnTo>
                    <a:pt x="0" y="0"/>
                  </a:lnTo>
                  <a:lnTo>
                    <a:pt x="0"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22" name="Freeform 23"/>
            <p:cNvSpPr>
              <a:spLocks/>
            </p:cNvSpPr>
            <p:nvPr/>
          </p:nvSpPr>
          <p:spPr bwMode="auto">
            <a:xfrm>
              <a:off x="3695701" y="2892426"/>
              <a:ext cx="185738" cy="207963"/>
            </a:xfrm>
            <a:custGeom>
              <a:avLst/>
              <a:gdLst>
                <a:gd name="T0" fmla="*/ 117 w 117"/>
                <a:gd name="T1" fmla="*/ 131 h 131"/>
                <a:gd name="T2" fmla="*/ 0 w 117"/>
                <a:gd name="T3" fmla="*/ 10 h 131"/>
                <a:gd name="T4" fmla="*/ 9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9" y="0"/>
                  </a:lnTo>
                  <a:lnTo>
                    <a:pt x="117" y="0"/>
                  </a:lnTo>
                  <a:lnTo>
                    <a:pt x="117"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grpSp>
      <p:grpSp>
        <p:nvGrpSpPr>
          <p:cNvPr id="23" name="组合 22"/>
          <p:cNvGrpSpPr/>
          <p:nvPr/>
        </p:nvGrpSpPr>
        <p:grpSpPr>
          <a:xfrm>
            <a:off x="5574507" y="1884760"/>
            <a:ext cx="1806179" cy="440532"/>
            <a:chOff x="5908676" y="2513013"/>
            <a:chExt cx="2408238" cy="587376"/>
          </a:xfrm>
        </p:grpSpPr>
        <p:sp>
          <p:nvSpPr>
            <p:cNvPr id="24" name="Freeform 24"/>
            <p:cNvSpPr>
              <a:spLocks/>
            </p:cNvSpPr>
            <p:nvPr/>
          </p:nvSpPr>
          <p:spPr bwMode="auto">
            <a:xfrm>
              <a:off x="5908676"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3 w 1517"/>
                <a:gd name="T13" fmla="*/ 247 h 370"/>
                <a:gd name="T14" fmla="*/ 0 w 1517"/>
                <a:gd name="T15" fmla="*/ 370 h 370"/>
                <a:gd name="T16" fmla="*/ 389 w 1517"/>
                <a:gd name="T17" fmla="*/ 370 h 370"/>
                <a:gd name="T18" fmla="*/ 389 w 1517"/>
                <a:gd name="T19" fmla="*/ 249 h 370"/>
                <a:gd name="T20" fmla="*/ 1128 w 1517"/>
                <a:gd name="T21" fmla="*/ 249 h 370"/>
                <a:gd name="T22" fmla="*/ 1128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25" name="Freeform 25"/>
            <p:cNvSpPr>
              <a:spLocks/>
            </p:cNvSpPr>
            <p:nvPr/>
          </p:nvSpPr>
          <p:spPr bwMode="auto">
            <a:xfrm>
              <a:off x="7699376" y="2892426"/>
              <a:ext cx="185738" cy="207963"/>
            </a:xfrm>
            <a:custGeom>
              <a:avLst/>
              <a:gdLst>
                <a:gd name="T0" fmla="*/ 0 w 117"/>
                <a:gd name="T1" fmla="*/ 131 h 131"/>
                <a:gd name="T2" fmla="*/ 117 w 117"/>
                <a:gd name="T3" fmla="*/ 10 h 131"/>
                <a:gd name="T4" fmla="*/ 111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11" y="0"/>
                  </a:lnTo>
                  <a:lnTo>
                    <a:pt x="0" y="0"/>
                  </a:lnTo>
                  <a:lnTo>
                    <a:pt x="0"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26" name="Freeform 26"/>
            <p:cNvSpPr>
              <a:spLocks/>
            </p:cNvSpPr>
            <p:nvPr/>
          </p:nvSpPr>
          <p:spPr bwMode="auto">
            <a:xfrm>
              <a:off x="6340476"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grpSp>
      <p:grpSp>
        <p:nvGrpSpPr>
          <p:cNvPr id="27" name="组合 26"/>
          <p:cNvGrpSpPr/>
          <p:nvPr/>
        </p:nvGrpSpPr>
        <p:grpSpPr>
          <a:xfrm>
            <a:off x="1601391" y="1884760"/>
            <a:ext cx="1806179" cy="440532"/>
            <a:chOff x="611188" y="2513013"/>
            <a:chExt cx="2408238" cy="587376"/>
          </a:xfrm>
          <a:solidFill>
            <a:schemeClr val="bg1"/>
          </a:solidFill>
        </p:grpSpPr>
        <p:sp>
          <p:nvSpPr>
            <p:cNvPr id="28" name="Freeform 27"/>
            <p:cNvSpPr>
              <a:spLocks/>
            </p:cNvSpPr>
            <p:nvPr/>
          </p:nvSpPr>
          <p:spPr bwMode="auto">
            <a:xfrm>
              <a:off x="611188"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5 w 1517"/>
                <a:gd name="T13" fmla="*/ 247 h 370"/>
                <a:gd name="T14" fmla="*/ 0 w 1517"/>
                <a:gd name="T15" fmla="*/ 370 h 370"/>
                <a:gd name="T16" fmla="*/ 389 w 1517"/>
                <a:gd name="T17" fmla="*/ 370 h 370"/>
                <a:gd name="T18" fmla="*/ 389 w 1517"/>
                <a:gd name="T19" fmla="*/ 249 h 370"/>
                <a:gd name="T20" fmla="*/ 1130 w 1517"/>
                <a:gd name="T21" fmla="*/ 249 h 370"/>
                <a:gd name="T22" fmla="*/ 1130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29" name="Freeform 28"/>
            <p:cNvSpPr>
              <a:spLocks/>
            </p:cNvSpPr>
            <p:nvPr/>
          </p:nvSpPr>
          <p:spPr bwMode="auto">
            <a:xfrm>
              <a:off x="2405063" y="2892426"/>
              <a:ext cx="182563" cy="207963"/>
            </a:xfrm>
            <a:custGeom>
              <a:avLst/>
              <a:gdLst>
                <a:gd name="T0" fmla="*/ 0 w 115"/>
                <a:gd name="T1" fmla="*/ 131 h 131"/>
                <a:gd name="T2" fmla="*/ 115 w 115"/>
                <a:gd name="T3" fmla="*/ 10 h 131"/>
                <a:gd name="T4" fmla="*/ 109 w 115"/>
                <a:gd name="T5" fmla="*/ 0 h 131"/>
                <a:gd name="T6" fmla="*/ 0 w 115"/>
                <a:gd name="T7" fmla="*/ 0 h 131"/>
                <a:gd name="T8" fmla="*/ 0 w 115"/>
                <a:gd name="T9" fmla="*/ 131 h 131"/>
              </a:gdLst>
              <a:ahLst/>
              <a:cxnLst>
                <a:cxn ang="0">
                  <a:pos x="T0" y="T1"/>
                </a:cxn>
                <a:cxn ang="0">
                  <a:pos x="T2" y="T3"/>
                </a:cxn>
                <a:cxn ang="0">
                  <a:pos x="T4" y="T5"/>
                </a:cxn>
                <a:cxn ang="0">
                  <a:pos x="T6" y="T7"/>
                </a:cxn>
                <a:cxn ang="0">
                  <a:pos x="T8" y="T9"/>
                </a:cxn>
              </a:cxnLst>
              <a:rect l="0" t="0" r="r" b="b"/>
              <a:pathLst>
                <a:path w="115" h="131">
                  <a:moveTo>
                    <a:pt x="0" y="131"/>
                  </a:moveTo>
                  <a:lnTo>
                    <a:pt x="115" y="10"/>
                  </a:lnTo>
                  <a:lnTo>
                    <a:pt x="109" y="0"/>
                  </a:lnTo>
                  <a:lnTo>
                    <a:pt x="0" y="0"/>
                  </a:lnTo>
                  <a:lnTo>
                    <a:pt x="0"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30" name="Freeform 29"/>
            <p:cNvSpPr>
              <a:spLocks/>
            </p:cNvSpPr>
            <p:nvPr/>
          </p:nvSpPr>
          <p:spPr bwMode="auto">
            <a:xfrm>
              <a:off x="1042988"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grpSp>
      <p:grpSp>
        <p:nvGrpSpPr>
          <p:cNvPr id="31" name="组合 30"/>
          <p:cNvGrpSpPr/>
          <p:nvPr/>
        </p:nvGrpSpPr>
        <p:grpSpPr>
          <a:xfrm>
            <a:off x="2135983" y="1281113"/>
            <a:ext cx="716756" cy="552450"/>
            <a:chOff x="1323976" y="1708151"/>
            <a:chExt cx="955675" cy="736600"/>
          </a:xfrm>
          <a:solidFill>
            <a:schemeClr val="bg1"/>
          </a:solidFill>
        </p:grpSpPr>
        <p:sp>
          <p:nvSpPr>
            <p:cNvPr id="32" name="Freeform 30"/>
            <p:cNvSpPr>
              <a:spLocks/>
            </p:cNvSpPr>
            <p:nvPr/>
          </p:nvSpPr>
          <p:spPr bwMode="auto">
            <a:xfrm>
              <a:off x="1990726" y="1989138"/>
              <a:ext cx="209550" cy="212725"/>
            </a:xfrm>
            <a:custGeom>
              <a:avLst/>
              <a:gdLst>
                <a:gd name="T0" fmla="*/ 67 w 132"/>
                <a:gd name="T1" fmla="*/ 0 h 134"/>
                <a:gd name="T2" fmla="*/ 67 w 132"/>
                <a:gd name="T3" fmla="*/ 0 h 134"/>
                <a:gd name="T4" fmla="*/ 52 w 132"/>
                <a:gd name="T5" fmla="*/ 2 h 134"/>
                <a:gd name="T6" fmla="*/ 40 w 132"/>
                <a:gd name="T7" fmla="*/ 7 h 134"/>
                <a:gd name="T8" fmla="*/ 30 w 132"/>
                <a:gd name="T9" fmla="*/ 13 h 134"/>
                <a:gd name="T10" fmla="*/ 19 w 132"/>
                <a:gd name="T11" fmla="*/ 21 h 134"/>
                <a:gd name="T12" fmla="*/ 11 w 132"/>
                <a:gd name="T13" fmla="*/ 30 h 134"/>
                <a:gd name="T14" fmla="*/ 4 w 132"/>
                <a:gd name="T15" fmla="*/ 42 h 134"/>
                <a:gd name="T16" fmla="*/ 0 w 132"/>
                <a:gd name="T17" fmla="*/ 55 h 134"/>
                <a:gd name="T18" fmla="*/ 0 w 132"/>
                <a:gd name="T19" fmla="*/ 67 h 134"/>
                <a:gd name="T20" fmla="*/ 0 w 132"/>
                <a:gd name="T21" fmla="*/ 67 h 134"/>
                <a:gd name="T22" fmla="*/ 0 w 132"/>
                <a:gd name="T23" fmla="*/ 82 h 134"/>
                <a:gd name="T24" fmla="*/ 4 w 132"/>
                <a:gd name="T25" fmla="*/ 94 h 134"/>
                <a:gd name="T26" fmla="*/ 11 w 132"/>
                <a:gd name="T27" fmla="*/ 105 h 134"/>
                <a:gd name="T28" fmla="*/ 19 w 132"/>
                <a:gd name="T29" fmla="*/ 115 h 134"/>
                <a:gd name="T30" fmla="*/ 30 w 132"/>
                <a:gd name="T31" fmla="*/ 124 h 134"/>
                <a:gd name="T32" fmla="*/ 40 w 132"/>
                <a:gd name="T33" fmla="*/ 130 h 134"/>
                <a:gd name="T34" fmla="*/ 52 w 132"/>
                <a:gd name="T35" fmla="*/ 134 h 134"/>
                <a:gd name="T36" fmla="*/ 67 w 132"/>
                <a:gd name="T37" fmla="*/ 134 h 134"/>
                <a:gd name="T38" fmla="*/ 67 w 132"/>
                <a:gd name="T39" fmla="*/ 134 h 134"/>
                <a:gd name="T40" fmla="*/ 80 w 132"/>
                <a:gd name="T41" fmla="*/ 134 h 134"/>
                <a:gd name="T42" fmla="*/ 92 w 132"/>
                <a:gd name="T43" fmla="*/ 130 h 134"/>
                <a:gd name="T44" fmla="*/ 103 w 132"/>
                <a:gd name="T45" fmla="*/ 124 h 134"/>
                <a:gd name="T46" fmla="*/ 113 w 132"/>
                <a:gd name="T47" fmla="*/ 115 h 134"/>
                <a:gd name="T48" fmla="*/ 121 w 132"/>
                <a:gd name="T49" fmla="*/ 105 h 134"/>
                <a:gd name="T50" fmla="*/ 128 w 132"/>
                <a:gd name="T51" fmla="*/ 94 h 134"/>
                <a:gd name="T52" fmla="*/ 132 w 132"/>
                <a:gd name="T53" fmla="*/ 82 h 134"/>
                <a:gd name="T54" fmla="*/ 132 w 132"/>
                <a:gd name="T55" fmla="*/ 67 h 134"/>
                <a:gd name="T56" fmla="*/ 132 w 132"/>
                <a:gd name="T57" fmla="*/ 67 h 134"/>
                <a:gd name="T58" fmla="*/ 132 w 132"/>
                <a:gd name="T59" fmla="*/ 55 h 134"/>
                <a:gd name="T60" fmla="*/ 128 w 132"/>
                <a:gd name="T61" fmla="*/ 42 h 134"/>
                <a:gd name="T62" fmla="*/ 121 w 132"/>
                <a:gd name="T63" fmla="*/ 30 h 134"/>
                <a:gd name="T64" fmla="*/ 113 w 132"/>
                <a:gd name="T65" fmla="*/ 21 h 134"/>
                <a:gd name="T66" fmla="*/ 103 w 132"/>
                <a:gd name="T67" fmla="*/ 13 h 134"/>
                <a:gd name="T68" fmla="*/ 92 w 132"/>
                <a:gd name="T69" fmla="*/ 7 h 134"/>
                <a:gd name="T70" fmla="*/ 80 w 132"/>
                <a:gd name="T71" fmla="*/ 2 h 134"/>
                <a:gd name="T72" fmla="*/ 67 w 132"/>
                <a:gd name="T73" fmla="*/ 0 h 134"/>
                <a:gd name="T74" fmla="*/ 67 w 132"/>
                <a:gd name="T7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4">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3" name="Freeform 31"/>
            <p:cNvSpPr>
              <a:spLocks/>
            </p:cNvSpPr>
            <p:nvPr/>
          </p:nvSpPr>
          <p:spPr bwMode="auto">
            <a:xfrm>
              <a:off x="1974851" y="2174876"/>
              <a:ext cx="304800" cy="222250"/>
            </a:xfrm>
            <a:custGeom>
              <a:avLst/>
              <a:gdLst>
                <a:gd name="T0" fmla="*/ 136 w 192"/>
                <a:gd name="T1" fmla="*/ 0 h 140"/>
                <a:gd name="T2" fmla="*/ 136 w 192"/>
                <a:gd name="T3" fmla="*/ 0 h 140"/>
                <a:gd name="T4" fmla="*/ 123 w 192"/>
                <a:gd name="T5" fmla="*/ 13 h 140"/>
                <a:gd name="T6" fmla="*/ 111 w 192"/>
                <a:gd name="T7" fmla="*/ 21 h 140"/>
                <a:gd name="T8" fmla="*/ 94 w 192"/>
                <a:gd name="T9" fmla="*/ 28 h 140"/>
                <a:gd name="T10" fmla="*/ 77 w 192"/>
                <a:gd name="T11" fmla="*/ 28 h 140"/>
                <a:gd name="T12" fmla="*/ 77 w 192"/>
                <a:gd name="T13" fmla="*/ 28 h 140"/>
                <a:gd name="T14" fmla="*/ 58 w 192"/>
                <a:gd name="T15" fmla="*/ 28 h 140"/>
                <a:gd name="T16" fmla="*/ 42 w 192"/>
                <a:gd name="T17" fmla="*/ 21 h 140"/>
                <a:gd name="T18" fmla="*/ 29 w 192"/>
                <a:gd name="T19" fmla="*/ 13 h 140"/>
                <a:gd name="T20" fmla="*/ 17 w 192"/>
                <a:gd name="T21" fmla="*/ 0 h 140"/>
                <a:gd name="T22" fmla="*/ 17 w 192"/>
                <a:gd name="T23" fmla="*/ 0 h 140"/>
                <a:gd name="T24" fmla="*/ 0 w 192"/>
                <a:gd name="T25" fmla="*/ 15 h 140"/>
                <a:gd name="T26" fmla="*/ 0 w 192"/>
                <a:gd name="T27" fmla="*/ 15 h 140"/>
                <a:gd name="T28" fmla="*/ 10 w 192"/>
                <a:gd name="T29" fmla="*/ 28 h 140"/>
                <a:gd name="T30" fmla="*/ 21 w 192"/>
                <a:gd name="T31" fmla="*/ 40 h 140"/>
                <a:gd name="T32" fmla="*/ 29 w 192"/>
                <a:gd name="T33" fmla="*/ 55 h 140"/>
                <a:gd name="T34" fmla="*/ 37 w 192"/>
                <a:gd name="T35" fmla="*/ 69 h 140"/>
                <a:gd name="T36" fmla="*/ 42 w 192"/>
                <a:gd name="T37" fmla="*/ 86 h 140"/>
                <a:gd name="T38" fmla="*/ 48 w 192"/>
                <a:gd name="T39" fmla="*/ 103 h 140"/>
                <a:gd name="T40" fmla="*/ 50 w 192"/>
                <a:gd name="T41" fmla="*/ 122 h 140"/>
                <a:gd name="T42" fmla="*/ 52 w 192"/>
                <a:gd name="T43" fmla="*/ 140 h 140"/>
                <a:gd name="T44" fmla="*/ 190 w 192"/>
                <a:gd name="T45" fmla="*/ 140 h 140"/>
                <a:gd name="T46" fmla="*/ 190 w 192"/>
                <a:gd name="T47" fmla="*/ 140 h 140"/>
                <a:gd name="T48" fmla="*/ 192 w 192"/>
                <a:gd name="T49" fmla="*/ 119 h 140"/>
                <a:gd name="T50" fmla="*/ 192 w 192"/>
                <a:gd name="T51" fmla="*/ 119 h 140"/>
                <a:gd name="T52" fmla="*/ 192 w 192"/>
                <a:gd name="T53" fmla="*/ 101 h 140"/>
                <a:gd name="T54" fmla="*/ 188 w 192"/>
                <a:gd name="T55" fmla="*/ 84 h 140"/>
                <a:gd name="T56" fmla="*/ 184 w 192"/>
                <a:gd name="T57" fmla="*/ 67 h 140"/>
                <a:gd name="T58" fmla="*/ 177 w 192"/>
                <a:gd name="T59" fmla="*/ 51 h 140"/>
                <a:gd name="T60" fmla="*/ 169 w 192"/>
                <a:gd name="T61" fmla="*/ 36 h 140"/>
                <a:gd name="T62" fmla="*/ 159 w 192"/>
                <a:gd name="T63" fmla="*/ 21 h 140"/>
                <a:gd name="T64" fmla="*/ 148 w 192"/>
                <a:gd name="T65" fmla="*/ 11 h 140"/>
                <a:gd name="T66" fmla="*/ 136 w 192"/>
                <a:gd name="T67" fmla="*/ 0 h 140"/>
                <a:gd name="T68" fmla="*/ 136 w 192"/>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40">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4" name="Freeform 32"/>
            <p:cNvSpPr>
              <a:spLocks/>
            </p:cNvSpPr>
            <p:nvPr/>
          </p:nvSpPr>
          <p:spPr bwMode="auto">
            <a:xfrm>
              <a:off x="1400176" y="1989138"/>
              <a:ext cx="212725" cy="212725"/>
            </a:xfrm>
            <a:custGeom>
              <a:avLst/>
              <a:gdLst>
                <a:gd name="T0" fmla="*/ 67 w 134"/>
                <a:gd name="T1" fmla="*/ 134 h 134"/>
                <a:gd name="T2" fmla="*/ 67 w 134"/>
                <a:gd name="T3" fmla="*/ 134 h 134"/>
                <a:gd name="T4" fmla="*/ 82 w 134"/>
                <a:gd name="T5" fmla="*/ 134 h 134"/>
                <a:gd name="T6" fmla="*/ 94 w 134"/>
                <a:gd name="T7" fmla="*/ 130 h 134"/>
                <a:gd name="T8" fmla="*/ 105 w 134"/>
                <a:gd name="T9" fmla="*/ 124 h 134"/>
                <a:gd name="T10" fmla="*/ 115 w 134"/>
                <a:gd name="T11" fmla="*/ 115 h 134"/>
                <a:gd name="T12" fmla="*/ 124 w 134"/>
                <a:gd name="T13" fmla="*/ 105 h 134"/>
                <a:gd name="T14" fmla="*/ 130 w 134"/>
                <a:gd name="T15" fmla="*/ 94 h 134"/>
                <a:gd name="T16" fmla="*/ 132 w 134"/>
                <a:gd name="T17" fmla="*/ 82 h 134"/>
                <a:gd name="T18" fmla="*/ 134 w 134"/>
                <a:gd name="T19" fmla="*/ 67 h 134"/>
                <a:gd name="T20" fmla="*/ 134 w 134"/>
                <a:gd name="T21" fmla="*/ 67 h 134"/>
                <a:gd name="T22" fmla="*/ 132 w 134"/>
                <a:gd name="T23" fmla="*/ 55 h 134"/>
                <a:gd name="T24" fmla="*/ 130 w 134"/>
                <a:gd name="T25" fmla="*/ 42 h 134"/>
                <a:gd name="T26" fmla="*/ 124 w 134"/>
                <a:gd name="T27" fmla="*/ 30 h 134"/>
                <a:gd name="T28" fmla="*/ 115 w 134"/>
                <a:gd name="T29" fmla="*/ 21 h 134"/>
                <a:gd name="T30" fmla="*/ 105 w 134"/>
                <a:gd name="T31" fmla="*/ 13 h 134"/>
                <a:gd name="T32" fmla="*/ 94 w 134"/>
                <a:gd name="T33" fmla="*/ 7 h 134"/>
                <a:gd name="T34" fmla="*/ 82 w 134"/>
                <a:gd name="T35" fmla="*/ 2 h 134"/>
                <a:gd name="T36" fmla="*/ 67 w 134"/>
                <a:gd name="T37" fmla="*/ 0 h 134"/>
                <a:gd name="T38" fmla="*/ 67 w 134"/>
                <a:gd name="T39" fmla="*/ 0 h 134"/>
                <a:gd name="T40" fmla="*/ 55 w 134"/>
                <a:gd name="T41" fmla="*/ 2 h 134"/>
                <a:gd name="T42" fmla="*/ 42 w 134"/>
                <a:gd name="T43" fmla="*/ 7 h 134"/>
                <a:gd name="T44" fmla="*/ 30 w 134"/>
                <a:gd name="T45" fmla="*/ 13 h 134"/>
                <a:gd name="T46" fmla="*/ 21 w 134"/>
                <a:gd name="T47" fmla="*/ 21 h 134"/>
                <a:gd name="T48" fmla="*/ 13 w 134"/>
                <a:gd name="T49" fmla="*/ 30 h 134"/>
                <a:gd name="T50" fmla="*/ 7 w 134"/>
                <a:gd name="T51" fmla="*/ 42 h 134"/>
                <a:gd name="T52" fmla="*/ 2 w 134"/>
                <a:gd name="T53" fmla="*/ 55 h 134"/>
                <a:gd name="T54" fmla="*/ 0 w 134"/>
                <a:gd name="T55" fmla="*/ 67 h 134"/>
                <a:gd name="T56" fmla="*/ 0 w 134"/>
                <a:gd name="T57" fmla="*/ 67 h 134"/>
                <a:gd name="T58" fmla="*/ 2 w 134"/>
                <a:gd name="T59" fmla="*/ 82 h 134"/>
                <a:gd name="T60" fmla="*/ 7 w 134"/>
                <a:gd name="T61" fmla="*/ 94 h 134"/>
                <a:gd name="T62" fmla="*/ 13 w 134"/>
                <a:gd name="T63" fmla="*/ 105 h 134"/>
                <a:gd name="T64" fmla="*/ 21 w 134"/>
                <a:gd name="T65" fmla="*/ 115 h 134"/>
                <a:gd name="T66" fmla="*/ 30 w 134"/>
                <a:gd name="T67" fmla="*/ 124 h 134"/>
                <a:gd name="T68" fmla="*/ 42 w 134"/>
                <a:gd name="T69" fmla="*/ 130 h 134"/>
                <a:gd name="T70" fmla="*/ 55 w 134"/>
                <a:gd name="T71" fmla="*/ 134 h 134"/>
                <a:gd name="T72" fmla="*/ 67 w 134"/>
                <a:gd name="T73" fmla="*/ 134 h 134"/>
                <a:gd name="T74" fmla="*/ 67 w 134"/>
                <a:gd name="T7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5" name="Freeform 33"/>
            <p:cNvSpPr>
              <a:spLocks/>
            </p:cNvSpPr>
            <p:nvPr/>
          </p:nvSpPr>
          <p:spPr bwMode="auto">
            <a:xfrm>
              <a:off x="1323976" y="2174876"/>
              <a:ext cx="301625" cy="222250"/>
            </a:xfrm>
            <a:custGeom>
              <a:avLst/>
              <a:gdLst>
                <a:gd name="T0" fmla="*/ 176 w 190"/>
                <a:gd name="T1" fmla="*/ 0 h 140"/>
                <a:gd name="T2" fmla="*/ 176 w 190"/>
                <a:gd name="T3" fmla="*/ 0 h 140"/>
                <a:gd name="T4" fmla="*/ 163 w 190"/>
                <a:gd name="T5" fmla="*/ 13 h 140"/>
                <a:gd name="T6" fmla="*/ 149 w 190"/>
                <a:gd name="T7" fmla="*/ 21 h 140"/>
                <a:gd name="T8" fmla="*/ 134 w 190"/>
                <a:gd name="T9" fmla="*/ 28 h 140"/>
                <a:gd name="T10" fmla="*/ 115 w 190"/>
                <a:gd name="T11" fmla="*/ 28 h 140"/>
                <a:gd name="T12" fmla="*/ 115 w 190"/>
                <a:gd name="T13" fmla="*/ 28 h 140"/>
                <a:gd name="T14" fmla="*/ 98 w 190"/>
                <a:gd name="T15" fmla="*/ 28 h 140"/>
                <a:gd name="T16" fmla="*/ 82 w 190"/>
                <a:gd name="T17" fmla="*/ 21 h 140"/>
                <a:gd name="T18" fmla="*/ 67 w 190"/>
                <a:gd name="T19" fmla="*/ 13 h 140"/>
                <a:gd name="T20" fmla="*/ 57 w 190"/>
                <a:gd name="T21" fmla="*/ 0 h 140"/>
                <a:gd name="T22" fmla="*/ 57 w 190"/>
                <a:gd name="T23" fmla="*/ 0 h 140"/>
                <a:gd name="T24" fmla="*/ 44 w 190"/>
                <a:gd name="T25" fmla="*/ 11 h 140"/>
                <a:gd name="T26" fmla="*/ 34 w 190"/>
                <a:gd name="T27" fmla="*/ 21 h 140"/>
                <a:gd name="T28" fmla="*/ 23 w 190"/>
                <a:gd name="T29" fmla="*/ 36 h 140"/>
                <a:gd name="T30" fmla="*/ 15 w 190"/>
                <a:gd name="T31" fmla="*/ 51 h 140"/>
                <a:gd name="T32" fmla="*/ 9 w 190"/>
                <a:gd name="T33" fmla="*/ 67 h 140"/>
                <a:gd name="T34" fmla="*/ 4 w 190"/>
                <a:gd name="T35" fmla="*/ 84 h 140"/>
                <a:gd name="T36" fmla="*/ 0 w 190"/>
                <a:gd name="T37" fmla="*/ 101 h 140"/>
                <a:gd name="T38" fmla="*/ 0 w 190"/>
                <a:gd name="T39" fmla="*/ 119 h 140"/>
                <a:gd name="T40" fmla="*/ 0 w 190"/>
                <a:gd name="T41" fmla="*/ 119 h 140"/>
                <a:gd name="T42" fmla="*/ 0 w 190"/>
                <a:gd name="T43" fmla="*/ 140 h 140"/>
                <a:gd name="T44" fmla="*/ 140 w 190"/>
                <a:gd name="T45" fmla="*/ 140 h 140"/>
                <a:gd name="T46" fmla="*/ 140 w 190"/>
                <a:gd name="T47" fmla="*/ 140 h 140"/>
                <a:gd name="T48" fmla="*/ 142 w 190"/>
                <a:gd name="T49" fmla="*/ 122 h 140"/>
                <a:gd name="T50" fmla="*/ 144 w 190"/>
                <a:gd name="T51" fmla="*/ 103 h 140"/>
                <a:gd name="T52" fmla="*/ 149 w 190"/>
                <a:gd name="T53" fmla="*/ 86 h 140"/>
                <a:gd name="T54" fmla="*/ 155 w 190"/>
                <a:gd name="T55" fmla="*/ 69 h 140"/>
                <a:gd name="T56" fmla="*/ 163 w 190"/>
                <a:gd name="T57" fmla="*/ 55 h 140"/>
                <a:gd name="T58" fmla="*/ 172 w 190"/>
                <a:gd name="T59" fmla="*/ 40 h 140"/>
                <a:gd name="T60" fmla="*/ 180 w 190"/>
                <a:gd name="T61" fmla="*/ 28 h 140"/>
                <a:gd name="T62" fmla="*/ 190 w 190"/>
                <a:gd name="T63" fmla="*/ 15 h 140"/>
                <a:gd name="T64" fmla="*/ 190 w 190"/>
                <a:gd name="T65" fmla="*/ 15 h 140"/>
                <a:gd name="T66" fmla="*/ 176 w 190"/>
                <a:gd name="T67" fmla="*/ 0 h 140"/>
                <a:gd name="T68" fmla="*/ 176 w 190"/>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14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6" name="Freeform 34"/>
            <p:cNvSpPr>
              <a:spLocks/>
            </p:cNvSpPr>
            <p:nvPr/>
          </p:nvSpPr>
          <p:spPr bwMode="auto">
            <a:xfrm>
              <a:off x="1673226" y="1949451"/>
              <a:ext cx="258763" cy="258763"/>
            </a:xfrm>
            <a:custGeom>
              <a:avLst/>
              <a:gdLst>
                <a:gd name="T0" fmla="*/ 81 w 163"/>
                <a:gd name="T1" fmla="*/ 163 h 163"/>
                <a:gd name="T2" fmla="*/ 81 w 163"/>
                <a:gd name="T3" fmla="*/ 163 h 163"/>
                <a:gd name="T4" fmla="*/ 98 w 163"/>
                <a:gd name="T5" fmla="*/ 161 h 163"/>
                <a:gd name="T6" fmla="*/ 112 w 163"/>
                <a:gd name="T7" fmla="*/ 157 h 163"/>
                <a:gd name="T8" fmla="*/ 127 w 163"/>
                <a:gd name="T9" fmla="*/ 149 h 163"/>
                <a:gd name="T10" fmla="*/ 138 w 163"/>
                <a:gd name="T11" fmla="*/ 138 h 163"/>
                <a:gd name="T12" fmla="*/ 148 w 163"/>
                <a:gd name="T13" fmla="*/ 126 h 163"/>
                <a:gd name="T14" fmla="*/ 156 w 163"/>
                <a:gd name="T15" fmla="*/ 113 h 163"/>
                <a:gd name="T16" fmla="*/ 161 w 163"/>
                <a:gd name="T17" fmla="*/ 99 h 163"/>
                <a:gd name="T18" fmla="*/ 163 w 163"/>
                <a:gd name="T19" fmla="*/ 82 h 163"/>
                <a:gd name="T20" fmla="*/ 163 w 163"/>
                <a:gd name="T21" fmla="*/ 82 h 163"/>
                <a:gd name="T22" fmla="*/ 161 w 163"/>
                <a:gd name="T23" fmla="*/ 65 h 163"/>
                <a:gd name="T24" fmla="*/ 156 w 163"/>
                <a:gd name="T25" fmla="*/ 50 h 163"/>
                <a:gd name="T26" fmla="*/ 148 w 163"/>
                <a:gd name="T27" fmla="*/ 36 h 163"/>
                <a:gd name="T28" fmla="*/ 138 w 163"/>
                <a:gd name="T29" fmla="*/ 23 h 163"/>
                <a:gd name="T30" fmla="*/ 127 w 163"/>
                <a:gd name="T31" fmla="*/ 15 h 163"/>
                <a:gd name="T32" fmla="*/ 112 w 163"/>
                <a:gd name="T33" fmla="*/ 7 h 163"/>
                <a:gd name="T34" fmla="*/ 98 w 163"/>
                <a:gd name="T35" fmla="*/ 2 h 163"/>
                <a:gd name="T36" fmla="*/ 81 w 163"/>
                <a:gd name="T37" fmla="*/ 0 h 163"/>
                <a:gd name="T38" fmla="*/ 81 w 163"/>
                <a:gd name="T39" fmla="*/ 0 h 163"/>
                <a:gd name="T40" fmla="*/ 64 w 163"/>
                <a:gd name="T41" fmla="*/ 2 h 163"/>
                <a:gd name="T42" fmla="*/ 50 w 163"/>
                <a:gd name="T43" fmla="*/ 7 h 163"/>
                <a:gd name="T44" fmla="*/ 35 w 163"/>
                <a:gd name="T45" fmla="*/ 15 h 163"/>
                <a:gd name="T46" fmla="*/ 23 w 163"/>
                <a:gd name="T47" fmla="*/ 23 h 163"/>
                <a:gd name="T48" fmla="*/ 14 w 163"/>
                <a:gd name="T49" fmla="*/ 36 h 163"/>
                <a:gd name="T50" fmla="*/ 6 w 163"/>
                <a:gd name="T51" fmla="*/ 50 h 163"/>
                <a:gd name="T52" fmla="*/ 2 w 163"/>
                <a:gd name="T53" fmla="*/ 65 h 163"/>
                <a:gd name="T54" fmla="*/ 0 w 163"/>
                <a:gd name="T55" fmla="*/ 82 h 163"/>
                <a:gd name="T56" fmla="*/ 0 w 163"/>
                <a:gd name="T57" fmla="*/ 82 h 163"/>
                <a:gd name="T58" fmla="*/ 2 w 163"/>
                <a:gd name="T59" fmla="*/ 99 h 163"/>
                <a:gd name="T60" fmla="*/ 6 w 163"/>
                <a:gd name="T61" fmla="*/ 113 h 163"/>
                <a:gd name="T62" fmla="*/ 14 w 163"/>
                <a:gd name="T63" fmla="*/ 126 h 163"/>
                <a:gd name="T64" fmla="*/ 23 w 163"/>
                <a:gd name="T65" fmla="*/ 138 h 163"/>
                <a:gd name="T66" fmla="*/ 35 w 163"/>
                <a:gd name="T67" fmla="*/ 149 h 163"/>
                <a:gd name="T68" fmla="*/ 50 w 163"/>
                <a:gd name="T69" fmla="*/ 157 h 163"/>
                <a:gd name="T70" fmla="*/ 64 w 163"/>
                <a:gd name="T71" fmla="*/ 161 h 163"/>
                <a:gd name="T72" fmla="*/ 81 w 163"/>
                <a:gd name="T73" fmla="*/ 163 h 163"/>
                <a:gd name="T74" fmla="*/ 81 w 163"/>
                <a:gd name="T7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7" name="Freeform 35"/>
            <p:cNvSpPr>
              <a:spLocks/>
            </p:cNvSpPr>
            <p:nvPr/>
          </p:nvSpPr>
          <p:spPr bwMode="auto">
            <a:xfrm>
              <a:off x="1576388" y="2174876"/>
              <a:ext cx="447675" cy="269875"/>
            </a:xfrm>
            <a:custGeom>
              <a:avLst/>
              <a:gdLst>
                <a:gd name="T0" fmla="*/ 232 w 282"/>
                <a:gd name="T1" fmla="*/ 15 h 170"/>
                <a:gd name="T2" fmla="*/ 232 w 282"/>
                <a:gd name="T3" fmla="*/ 15 h 170"/>
                <a:gd name="T4" fmla="*/ 215 w 282"/>
                <a:gd name="T5" fmla="*/ 0 h 170"/>
                <a:gd name="T6" fmla="*/ 215 w 282"/>
                <a:gd name="T7" fmla="*/ 0 h 170"/>
                <a:gd name="T8" fmla="*/ 201 w 282"/>
                <a:gd name="T9" fmla="*/ 13 h 170"/>
                <a:gd name="T10" fmla="*/ 182 w 282"/>
                <a:gd name="T11" fmla="*/ 25 h 170"/>
                <a:gd name="T12" fmla="*/ 163 w 282"/>
                <a:gd name="T13" fmla="*/ 32 h 170"/>
                <a:gd name="T14" fmla="*/ 153 w 282"/>
                <a:gd name="T15" fmla="*/ 34 h 170"/>
                <a:gd name="T16" fmla="*/ 142 w 282"/>
                <a:gd name="T17" fmla="*/ 34 h 170"/>
                <a:gd name="T18" fmla="*/ 142 w 282"/>
                <a:gd name="T19" fmla="*/ 34 h 170"/>
                <a:gd name="T20" fmla="*/ 132 w 282"/>
                <a:gd name="T21" fmla="*/ 34 h 170"/>
                <a:gd name="T22" fmla="*/ 121 w 282"/>
                <a:gd name="T23" fmla="*/ 32 h 170"/>
                <a:gd name="T24" fmla="*/ 100 w 282"/>
                <a:gd name="T25" fmla="*/ 25 h 170"/>
                <a:gd name="T26" fmla="*/ 84 w 282"/>
                <a:gd name="T27" fmla="*/ 13 h 170"/>
                <a:gd name="T28" fmla="*/ 69 w 282"/>
                <a:gd name="T29" fmla="*/ 0 h 170"/>
                <a:gd name="T30" fmla="*/ 69 w 282"/>
                <a:gd name="T31" fmla="*/ 0 h 170"/>
                <a:gd name="T32" fmla="*/ 52 w 282"/>
                <a:gd name="T33" fmla="*/ 15 h 170"/>
                <a:gd name="T34" fmla="*/ 52 w 282"/>
                <a:gd name="T35" fmla="*/ 15 h 170"/>
                <a:gd name="T36" fmla="*/ 42 w 282"/>
                <a:gd name="T37" fmla="*/ 28 h 170"/>
                <a:gd name="T38" fmla="*/ 31 w 282"/>
                <a:gd name="T39" fmla="*/ 40 h 170"/>
                <a:gd name="T40" fmla="*/ 23 w 282"/>
                <a:gd name="T41" fmla="*/ 55 h 170"/>
                <a:gd name="T42" fmla="*/ 17 w 282"/>
                <a:gd name="T43" fmla="*/ 69 h 170"/>
                <a:gd name="T44" fmla="*/ 11 w 282"/>
                <a:gd name="T45" fmla="*/ 86 h 170"/>
                <a:gd name="T46" fmla="*/ 6 w 282"/>
                <a:gd name="T47" fmla="*/ 103 h 170"/>
                <a:gd name="T48" fmla="*/ 2 w 282"/>
                <a:gd name="T49" fmla="*/ 122 h 170"/>
                <a:gd name="T50" fmla="*/ 2 w 282"/>
                <a:gd name="T51" fmla="*/ 140 h 170"/>
                <a:gd name="T52" fmla="*/ 2 w 282"/>
                <a:gd name="T53" fmla="*/ 140 h 170"/>
                <a:gd name="T54" fmla="*/ 0 w 282"/>
                <a:gd name="T55" fmla="*/ 145 h 170"/>
                <a:gd name="T56" fmla="*/ 0 w 282"/>
                <a:gd name="T57" fmla="*/ 145 h 170"/>
                <a:gd name="T58" fmla="*/ 2 w 282"/>
                <a:gd name="T59" fmla="*/ 170 h 170"/>
                <a:gd name="T60" fmla="*/ 282 w 282"/>
                <a:gd name="T61" fmla="*/ 170 h 170"/>
                <a:gd name="T62" fmla="*/ 282 w 282"/>
                <a:gd name="T63" fmla="*/ 170 h 170"/>
                <a:gd name="T64" fmla="*/ 282 w 282"/>
                <a:gd name="T65" fmla="*/ 145 h 170"/>
                <a:gd name="T66" fmla="*/ 282 w 282"/>
                <a:gd name="T67" fmla="*/ 145 h 170"/>
                <a:gd name="T68" fmla="*/ 282 w 282"/>
                <a:gd name="T69" fmla="*/ 140 h 170"/>
                <a:gd name="T70" fmla="*/ 282 w 282"/>
                <a:gd name="T71" fmla="*/ 140 h 170"/>
                <a:gd name="T72" fmla="*/ 282 w 282"/>
                <a:gd name="T73" fmla="*/ 122 h 170"/>
                <a:gd name="T74" fmla="*/ 278 w 282"/>
                <a:gd name="T75" fmla="*/ 103 h 170"/>
                <a:gd name="T76" fmla="*/ 274 w 282"/>
                <a:gd name="T77" fmla="*/ 86 h 170"/>
                <a:gd name="T78" fmla="*/ 268 w 282"/>
                <a:gd name="T79" fmla="*/ 69 h 170"/>
                <a:gd name="T80" fmla="*/ 261 w 282"/>
                <a:gd name="T81" fmla="*/ 55 h 170"/>
                <a:gd name="T82" fmla="*/ 253 w 282"/>
                <a:gd name="T83" fmla="*/ 40 h 170"/>
                <a:gd name="T84" fmla="*/ 242 w 282"/>
                <a:gd name="T85" fmla="*/ 28 h 170"/>
                <a:gd name="T86" fmla="*/ 232 w 282"/>
                <a:gd name="T87" fmla="*/ 15 h 170"/>
                <a:gd name="T88" fmla="*/ 232 w 282"/>
                <a:gd name="T89" fmla="*/ 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70">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sp>
          <p:nvSpPr>
            <p:cNvPr id="38" name="Freeform 36"/>
            <p:cNvSpPr>
              <a:spLocks/>
            </p:cNvSpPr>
            <p:nvPr/>
          </p:nvSpPr>
          <p:spPr bwMode="auto">
            <a:xfrm>
              <a:off x="1928813" y="1708151"/>
              <a:ext cx="247650" cy="247650"/>
            </a:xfrm>
            <a:custGeom>
              <a:avLst/>
              <a:gdLst>
                <a:gd name="T0" fmla="*/ 58 w 156"/>
                <a:gd name="T1" fmla="*/ 156 h 156"/>
                <a:gd name="T2" fmla="*/ 98 w 156"/>
                <a:gd name="T3" fmla="*/ 156 h 156"/>
                <a:gd name="T4" fmla="*/ 98 w 156"/>
                <a:gd name="T5" fmla="*/ 96 h 156"/>
                <a:gd name="T6" fmla="*/ 156 w 156"/>
                <a:gd name="T7" fmla="*/ 96 h 156"/>
                <a:gd name="T8" fmla="*/ 156 w 156"/>
                <a:gd name="T9" fmla="*/ 58 h 156"/>
                <a:gd name="T10" fmla="*/ 98 w 156"/>
                <a:gd name="T11" fmla="*/ 58 h 156"/>
                <a:gd name="T12" fmla="*/ 98 w 156"/>
                <a:gd name="T13" fmla="*/ 0 h 156"/>
                <a:gd name="T14" fmla="*/ 58 w 156"/>
                <a:gd name="T15" fmla="*/ 0 h 156"/>
                <a:gd name="T16" fmla="*/ 58 w 156"/>
                <a:gd name="T17" fmla="*/ 58 h 156"/>
                <a:gd name="T18" fmla="*/ 0 w 156"/>
                <a:gd name="T19" fmla="*/ 58 h 156"/>
                <a:gd name="T20" fmla="*/ 0 w 156"/>
                <a:gd name="T21" fmla="*/ 96 h 156"/>
                <a:gd name="T22" fmla="*/ 58 w 156"/>
                <a:gd name="T23" fmla="*/ 96 h 156"/>
                <a:gd name="T24" fmla="*/ 58 w 156"/>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FZSJ-YANGGNH" panose="02010600010101010101" pitchFamily="2" charset="-122"/>
                <a:ea typeface="FZSJ-YANGGNH" panose="02010600010101010101" pitchFamily="2" charset="-122"/>
              </a:endParaRPr>
            </a:p>
          </p:txBody>
        </p:sp>
      </p:grpSp>
      <p:sp>
        <p:nvSpPr>
          <p:cNvPr id="39" name="Freeform 37"/>
          <p:cNvSpPr>
            <a:spLocks noEditPoints="1"/>
          </p:cNvSpPr>
          <p:nvPr/>
        </p:nvSpPr>
        <p:spPr bwMode="auto">
          <a:xfrm>
            <a:off x="4293394" y="1258492"/>
            <a:ext cx="415529" cy="584597"/>
          </a:xfrm>
          <a:custGeom>
            <a:avLst/>
            <a:gdLst>
              <a:gd name="T0" fmla="*/ 242 w 349"/>
              <a:gd name="T1" fmla="*/ 0 h 491"/>
              <a:gd name="T2" fmla="*/ 113 w 349"/>
              <a:gd name="T3" fmla="*/ 69 h 491"/>
              <a:gd name="T4" fmla="*/ 58 w 349"/>
              <a:gd name="T5" fmla="*/ 42 h 491"/>
              <a:gd name="T6" fmla="*/ 60 w 349"/>
              <a:gd name="T7" fmla="*/ 52 h 491"/>
              <a:gd name="T8" fmla="*/ 109 w 349"/>
              <a:gd name="T9" fmla="*/ 77 h 491"/>
              <a:gd name="T10" fmla="*/ 228 w 349"/>
              <a:gd name="T11" fmla="*/ 98 h 491"/>
              <a:gd name="T12" fmla="*/ 106 w 349"/>
              <a:gd name="T13" fmla="*/ 96 h 491"/>
              <a:gd name="T14" fmla="*/ 63 w 349"/>
              <a:gd name="T15" fmla="*/ 90 h 491"/>
              <a:gd name="T16" fmla="*/ 71 w 349"/>
              <a:gd name="T17" fmla="*/ 104 h 491"/>
              <a:gd name="T18" fmla="*/ 106 w 349"/>
              <a:gd name="T19" fmla="*/ 104 h 491"/>
              <a:gd name="T20" fmla="*/ 46 w 349"/>
              <a:gd name="T21" fmla="*/ 171 h 491"/>
              <a:gd name="T22" fmla="*/ 2 w 349"/>
              <a:gd name="T23" fmla="*/ 288 h 491"/>
              <a:gd name="T24" fmla="*/ 4 w 349"/>
              <a:gd name="T25" fmla="*/ 351 h 491"/>
              <a:gd name="T26" fmla="*/ 29 w 349"/>
              <a:gd name="T27" fmla="*/ 414 h 491"/>
              <a:gd name="T28" fmla="*/ 77 w 349"/>
              <a:gd name="T29" fmla="*/ 462 h 491"/>
              <a:gd name="T30" fmla="*/ 140 w 349"/>
              <a:gd name="T31" fmla="*/ 487 h 491"/>
              <a:gd name="T32" fmla="*/ 192 w 349"/>
              <a:gd name="T33" fmla="*/ 491 h 491"/>
              <a:gd name="T34" fmla="*/ 257 w 349"/>
              <a:gd name="T35" fmla="*/ 470 h 491"/>
              <a:gd name="T36" fmla="*/ 309 w 349"/>
              <a:gd name="T37" fmla="*/ 428 h 491"/>
              <a:gd name="T38" fmla="*/ 343 w 349"/>
              <a:gd name="T39" fmla="*/ 368 h 491"/>
              <a:gd name="T40" fmla="*/ 349 w 349"/>
              <a:gd name="T41" fmla="*/ 315 h 491"/>
              <a:gd name="T42" fmla="*/ 315 w 349"/>
              <a:gd name="T43" fmla="*/ 192 h 491"/>
              <a:gd name="T44" fmla="*/ 253 w 349"/>
              <a:gd name="T45" fmla="*/ 113 h 491"/>
              <a:gd name="T46" fmla="*/ 226 w 349"/>
              <a:gd name="T47" fmla="*/ 374 h 491"/>
              <a:gd name="T48" fmla="*/ 200 w 349"/>
              <a:gd name="T49" fmla="*/ 386 h 491"/>
              <a:gd name="T50" fmla="*/ 161 w 349"/>
              <a:gd name="T51" fmla="*/ 389 h 491"/>
              <a:gd name="T52" fmla="*/ 132 w 349"/>
              <a:gd name="T53" fmla="*/ 378 h 491"/>
              <a:gd name="T54" fmla="*/ 111 w 349"/>
              <a:gd name="T55" fmla="*/ 355 h 491"/>
              <a:gd name="T56" fmla="*/ 134 w 349"/>
              <a:gd name="T57" fmla="*/ 328 h 491"/>
              <a:gd name="T58" fmla="*/ 138 w 349"/>
              <a:gd name="T59" fmla="*/ 345 h 491"/>
              <a:gd name="T60" fmla="*/ 150 w 349"/>
              <a:gd name="T61" fmla="*/ 361 h 491"/>
              <a:gd name="T62" fmla="*/ 175 w 349"/>
              <a:gd name="T63" fmla="*/ 366 h 491"/>
              <a:gd name="T64" fmla="*/ 205 w 349"/>
              <a:gd name="T65" fmla="*/ 357 h 491"/>
              <a:gd name="T66" fmla="*/ 215 w 349"/>
              <a:gd name="T67" fmla="*/ 338 h 491"/>
              <a:gd name="T68" fmla="*/ 213 w 349"/>
              <a:gd name="T69" fmla="*/ 320 h 491"/>
              <a:gd name="T70" fmla="*/ 190 w 349"/>
              <a:gd name="T71" fmla="*/ 301 h 491"/>
              <a:gd name="T72" fmla="*/ 144 w 349"/>
              <a:gd name="T73" fmla="*/ 286 h 491"/>
              <a:gd name="T74" fmla="*/ 121 w 349"/>
              <a:gd name="T75" fmla="*/ 267 h 491"/>
              <a:gd name="T76" fmla="*/ 113 w 349"/>
              <a:gd name="T77" fmla="*/ 240 h 491"/>
              <a:gd name="T78" fmla="*/ 132 w 349"/>
              <a:gd name="T79" fmla="*/ 201 h 491"/>
              <a:gd name="T80" fmla="*/ 161 w 349"/>
              <a:gd name="T81" fmla="*/ 163 h 491"/>
              <a:gd name="T82" fmla="*/ 209 w 349"/>
              <a:gd name="T83" fmla="*/ 192 h 491"/>
              <a:gd name="T84" fmla="*/ 232 w 349"/>
              <a:gd name="T85" fmla="*/ 209 h 491"/>
              <a:gd name="T86" fmla="*/ 242 w 349"/>
              <a:gd name="T87" fmla="*/ 244 h 491"/>
              <a:gd name="T88" fmla="*/ 209 w 349"/>
              <a:gd name="T89" fmla="*/ 228 h 491"/>
              <a:gd name="T90" fmla="*/ 192 w 349"/>
              <a:gd name="T91" fmla="*/ 213 h 491"/>
              <a:gd name="T92" fmla="*/ 157 w 349"/>
              <a:gd name="T93" fmla="*/ 215 h 491"/>
              <a:gd name="T94" fmla="*/ 144 w 349"/>
              <a:gd name="T95" fmla="*/ 228 h 491"/>
              <a:gd name="T96" fmla="*/ 144 w 349"/>
              <a:gd name="T97" fmla="*/ 251 h 491"/>
              <a:gd name="T98" fmla="*/ 180 w 349"/>
              <a:gd name="T99" fmla="*/ 272 h 491"/>
              <a:gd name="T100" fmla="*/ 219 w 349"/>
              <a:gd name="T101" fmla="*/ 286 h 491"/>
              <a:gd name="T102" fmla="*/ 240 w 349"/>
              <a:gd name="T103" fmla="*/ 311 h 491"/>
              <a:gd name="T104" fmla="*/ 242 w 349"/>
              <a:gd name="T105" fmla="*/ 343 h 491"/>
              <a:gd name="T106" fmla="*/ 226 w 349"/>
              <a:gd name="T107" fmla="*/ 37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 h="491">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chemeClr val="tx1"/>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sp>
        <p:nvSpPr>
          <p:cNvPr id="40" name="Freeform 38"/>
          <p:cNvSpPr>
            <a:spLocks noEditPoints="1"/>
          </p:cNvSpPr>
          <p:nvPr/>
        </p:nvSpPr>
        <p:spPr bwMode="auto">
          <a:xfrm>
            <a:off x="6305551" y="1290638"/>
            <a:ext cx="423863" cy="561975"/>
          </a:xfrm>
          <a:custGeom>
            <a:avLst/>
            <a:gdLst>
              <a:gd name="T0" fmla="*/ 303 w 356"/>
              <a:gd name="T1" fmla="*/ 0 h 472"/>
              <a:gd name="T2" fmla="*/ 53 w 356"/>
              <a:gd name="T3" fmla="*/ 52 h 472"/>
              <a:gd name="T4" fmla="*/ 0 w 356"/>
              <a:gd name="T5" fmla="*/ 153 h 472"/>
              <a:gd name="T6" fmla="*/ 2 w 356"/>
              <a:gd name="T7" fmla="*/ 163 h 472"/>
              <a:gd name="T8" fmla="*/ 11 w 356"/>
              <a:gd name="T9" fmla="*/ 188 h 472"/>
              <a:gd name="T10" fmla="*/ 27 w 356"/>
              <a:gd name="T11" fmla="*/ 217 h 472"/>
              <a:gd name="T12" fmla="*/ 53 w 356"/>
              <a:gd name="T13" fmla="*/ 240 h 472"/>
              <a:gd name="T14" fmla="*/ 69 w 356"/>
              <a:gd name="T15" fmla="*/ 249 h 472"/>
              <a:gd name="T16" fmla="*/ 99 w 356"/>
              <a:gd name="T17" fmla="*/ 284 h 472"/>
              <a:gd name="T18" fmla="*/ 142 w 356"/>
              <a:gd name="T19" fmla="*/ 307 h 472"/>
              <a:gd name="T20" fmla="*/ 50 w 356"/>
              <a:gd name="T21" fmla="*/ 418 h 472"/>
              <a:gd name="T22" fmla="*/ 305 w 356"/>
              <a:gd name="T23" fmla="*/ 472 h 472"/>
              <a:gd name="T24" fmla="*/ 213 w 356"/>
              <a:gd name="T25" fmla="*/ 418 h 472"/>
              <a:gd name="T26" fmla="*/ 213 w 356"/>
              <a:gd name="T27" fmla="*/ 307 h 472"/>
              <a:gd name="T28" fmla="*/ 255 w 356"/>
              <a:gd name="T29" fmla="*/ 284 h 472"/>
              <a:gd name="T30" fmla="*/ 287 w 356"/>
              <a:gd name="T31" fmla="*/ 249 h 472"/>
              <a:gd name="T32" fmla="*/ 303 w 356"/>
              <a:gd name="T33" fmla="*/ 240 h 472"/>
              <a:gd name="T34" fmla="*/ 328 w 356"/>
              <a:gd name="T35" fmla="*/ 217 h 472"/>
              <a:gd name="T36" fmla="*/ 345 w 356"/>
              <a:gd name="T37" fmla="*/ 188 h 472"/>
              <a:gd name="T38" fmla="*/ 353 w 356"/>
              <a:gd name="T39" fmla="*/ 163 h 472"/>
              <a:gd name="T40" fmla="*/ 356 w 356"/>
              <a:gd name="T41" fmla="*/ 52 h 472"/>
              <a:gd name="T42" fmla="*/ 23 w 356"/>
              <a:gd name="T43" fmla="*/ 153 h 472"/>
              <a:gd name="T44" fmla="*/ 53 w 356"/>
              <a:gd name="T45" fmla="*/ 75 h 472"/>
              <a:gd name="T46" fmla="*/ 53 w 356"/>
              <a:gd name="T47" fmla="*/ 186 h 472"/>
              <a:gd name="T48" fmla="*/ 55 w 356"/>
              <a:gd name="T49" fmla="*/ 211 h 472"/>
              <a:gd name="T50" fmla="*/ 42 w 356"/>
              <a:gd name="T51" fmla="*/ 194 h 472"/>
              <a:gd name="T52" fmla="*/ 25 w 356"/>
              <a:gd name="T53" fmla="*/ 163 h 472"/>
              <a:gd name="T54" fmla="*/ 23 w 356"/>
              <a:gd name="T55" fmla="*/ 153 h 472"/>
              <a:gd name="T56" fmla="*/ 180 w 356"/>
              <a:gd name="T57" fmla="*/ 151 h 472"/>
              <a:gd name="T58" fmla="*/ 151 w 356"/>
              <a:gd name="T59" fmla="*/ 130 h 472"/>
              <a:gd name="T60" fmla="*/ 161 w 356"/>
              <a:gd name="T61" fmla="*/ 96 h 472"/>
              <a:gd name="T62" fmla="*/ 199 w 356"/>
              <a:gd name="T63" fmla="*/ 96 h 472"/>
              <a:gd name="T64" fmla="*/ 209 w 356"/>
              <a:gd name="T65" fmla="*/ 130 h 472"/>
              <a:gd name="T66" fmla="*/ 333 w 356"/>
              <a:gd name="T67" fmla="*/ 153 h 472"/>
              <a:gd name="T68" fmla="*/ 330 w 356"/>
              <a:gd name="T69" fmla="*/ 163 h 472"/>
              <a:gd name="T70" fmla="*/ 314 w 356"/>
              <a:gd name="T71" fmla="*/ 194 h 472"/>
              <a:gd name="T72" fmla="*/ 301 w 356"/>
              <a:gd name="T73" fmla="*/ 211 h 472"/>
              <a:gd name="T74" fmla="*/ 303 w 356"/>
              <a:gd name="T75" fmla="*/ 186 h 472"/>
              <a:gd name="T76" fmla="*/ 333 w 356"/>
              <a:gd name="T77" fmla="*/ 7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6" h="472">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chemeClr val="bg2"/>
          </a:solidFill>
          <a:ln>
            <a:noFill/>
          </a:ln>
          <a:extLst/>
        </p:spPr>
        <p:txBody>
          <a:bodyPr vert="horz" wrap="square" lIns="68580" tIns="34290" rIns="68580" bIns="34290" numCol="1" anchor="t" anchorCtr="0" compatLnSpc="1">
            <a:prstTxWarp prst="textNoShape">
              <a:avLst/>
            </a:prstTxWarp>
          </a:bodyPr>
          <a:lstStyle/>
          <a:p>
            <a:endParaRPr lang="zh-CN" altLang="en-US" sz="1350">
              <a:latin typeface="FZSJ-YANGGNH" panose="02010600010101010101" pitchFamily="2" charset="-122"/>
              <a:ea typeface="FZSJ-YANGGNH" panose="02010600010101010101" pitchFamily="2" charset="-122"/>
            </a:endParaRPr>
          </a:p>
        </p:txBody>
      </p:sp>
      <p:grpSp>
        <p:nvGrpSpPr>
          <p:cNvPr id="41" name="组合 40"/>
          <p:cNvGrpSpPr/>
          <p:nvPr/>
        </p:nvGrpSpPr>
        <p:grpSpPr>
          <a:xfrm>
            <a:off x="1925706" y="2600304"/>
            <a:ext cx="1144544" cy="1352177"/>
            <a:chOff x="1108076" y="3655439"/>
            <a:chExt cx="1526059" cy="1802902"/>
          </a:xfrm>
        </p:grpSpPr>
        <p:sp>
          <p:nvSpPr>
            <p:cNvPr id="42" name="Rectangle 6"/>
            <p:cNvSpPr>
              <a:spLocks noChangeArrowheads="1"/>
            </p:cNvSpPr>
            <p:nvPr/>
          </p:nvSpPr>
          <p:spPr bwMode="auto">
            <a:xfrm>
              <a:off x="1108076"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FZSJ-YANGGNH" panose="02010600010101010101" pitchFamily="2" charset="-122"/>
                  <a:ea typeface="FZSJ-YANGGNH" panose="02010600010101010101" pitchFamily="2" charset="-122"/>
                </a:rPr>
                <a:t>请在此添加标题</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43" name="Rectangle 7"/>
            <p:cNvSpPr>
              <a:spLocks noChangeArrowheads="1"/>
            </p:cNvSpPr>
            <p:nvPr/>
          </p:nvSpPr>
          <p:spPr bwMode="auto">
            <a:xfrm>
              <a:off x="1360488"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44" name="Rectangle 8"/>
            <p:cNvSpPr>
              <a:spLocks noChangeArrowheads="1"/>
            </p:cNvSpPr>
            <p:nvPr/>
          </p:nvSpPr>
          <p:spPr bwMode="auto">
            <a:xfrm>
              <a:off x="1360488"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45" name="Rectangle 9"/>
            <p:cNvSpPr>
              <a:spLocks noChangeArrowheads="1"/>
            </p:cNvSpPr>
            <p:nvPr/>
          </p:nvSpPr>
          <p:spPr bwMode="auto">
            <a:xfrm>
              <a:off x="1360488"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46" name="Rectangle 10"/>
            <p:cNvSpPr>
              <a:spLocks noChangeArrowheads="1"/>
            </p:cNvSpPr>
            <p:nvPr/>
          </p:nvSpPr>
          <p:spPr bwMode="auto">
            <a:xfrm>
              <a:off x="1360488"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47" name="Rectangle 39"/>
            <p:cNvSpPr>
              <a:spLocks noChangeArrowheads="1"/>
            </p:cNvSpPr>
            <p:nvPr/>
          </p:nvSpPr>
          <p:spPr bwMode="auto">
            <a:xfrm>
              <a:off x="1526560" y="365543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1"/>
                  </a:solidFill>
                  <a:latin typeface="FZSJ-YANGGNH" panose="02010600010101010101" pitchFamily="2" charset="-122"/>
                  <a:ea typeface="FZSJ-YANGGNH" panose="02010600010101010101" pitchFamily="2" charset="-122"/>
                </a:rPr>
                <a:t>标题</a:t>
              </a:r>
              <a:endParaRPr lang="zh-CN" altLang="zh-CN" sz="2000" dirty="0">
                <a:solidFill>
                  <a:schemeClr val="bg1"/>
                </a:solidFill>
                <a:latin typeface="FZSJ-YANGGNH" panose="02010600010101010101" pitchFamily="2" charset="-122"/>
                <a:ea typeface="FZSJ-YANGGNH" panose="02010600010101010101" pitchFamily="2" charset="-122"/>
              </a:endParaRPr>
            </a:p>
          </p:txBody>
        </p:sp>
      </p:grpSp>
      <p:grpSp>
        <p:nvGrpSpPr>
          <p:cNvPr id="48" name="组合 47"/>
          <p:cNvGrpSpPr/>
          <p:nvPr/>
        </p:nvGrpSpPr>
        <p:grpSpPr>
          <a:xfrm>
            <a:off x="3904524" y="2589573"/>
            <a:ext cx="1144544" cy="1362910"/>
            <a:chOff x="3746501" y="3641129"/>
            <a:chExt cx="1526059" cy="1817212"/>
          </a:xfrm>
        </p:grpSpPr>
        <p:sp>
          <p:nvSpPr>
            <p:cNvPr id="49" name="Rectangle 11"/>
            <p:cNvSpPr>
              <a:spLocks noChangeArrowheads="1"/>
            </p:cNvSpPr>
            <p:nvPr/>
          </p:nvSpPr>
          <p:spPr bwMode="auto">
            <a:xfrm>
              <a:off x="37465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FZSJ-YANGGNH" panose="02010600010101010101" pitchFamily="2" charset="-122"/>
                  <a:ea typeface="FZSJ-YANGGNH" panose="02010600010101010101" pitchFamily="2" charset="-122"/>
                </a:rPr>
                <a:t>请在此添加标题</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0" name="Rectangle 12"/>
            <p:cNvSpPr>
              <a:spLocks noChangeArrowheads="1"/>
            </p:cNvSpPr>
            <p:nvPr/>
          </p:nvSpPr>
          <p:spPr bwMode="auto">
            <a:xfrm>
              <a:off x="3997326"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1" name="Rectangle 13"/>
            <p:cNvSpPr>
              <a:spLocks noChangeArrowheads="1"/>
            </p:cNvSpPr>
            <p:nvPr/>
          </p:nvSpPr>
          <p:spPr bwMode="auto">
            <a:xfrm>
              <a:off x="3997326"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dirty="0">
                  <a:solidFill>
                    <a:schemeClr val="accent1"/>
                  </a:solidFill>
                  <a:latin typeface="FZSJ-YANGGNH" panose="02010600010101010101" pitchFamily="2" charset="-122"/>
                  <a:ea typeface="FZSJ-YANGGNH" panose="02010600010101010101" pitchFamily="2" charset="-122"/>
                </a:rPr>
                <a:t>请输入您的内容</a:t>
              </a:r>
              <a:endParaRPr lang="zh-CN" altLang="zh-CN" sz="1350" dirty="0">
                <a:solidFill>
                  <a:schemeClr val="accent1"/>
                </a:solidFill>
                <a:latin typeface="FZSJ-YANGGNH" panose="02010600010101010101" pitchFamily="2" charset="-122"/>
                <a:ea typeface="FZSJ-YANGGNH" panose="02010600010101010101" pitchFamily="2" charset="-122"/>
              </a:endParaRPr>
            </a:p>
          </p:txBody>
        </p:sp>
        <p:sp>
          <p:nvSpPr>
            <p:cNvPr id="52" name="Rectangle 14"/>
            <p:cNvSpPr>
              <a:spLocks noChangeArrowheads="1"/>
            </p:cNvSpPr>
            <p:nvPr/>
          </p:nvSpPr>
          <p:spPr bwMode="auto">
            <a:xfrm>
              <a:off x="3997326"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3" name="Rectangle 15"/>
            <p:cNvSpPr>
              <a:spLocks noChangeArrowheads="1"/>
            </p:cNvSpPr>
            <p:nvPr/>
          </p:nvSpPr>
          <p:spPr bwMode="auto">
            <a:xfrm>
              <a:off x="3997326"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4" name="Rectangle 40"/>
            <p:cNvSpPr>
              <a:spLocks noChangeArrowheads="1"/>
            </p:cNvSpPr>
            <p:nvPr/>
          </p:nvSpPr>
          <p:spPr bwMode="auto">
            <a:xfrm>
              <a:off x="4147846"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latin typeface="FZSJ-YANGGNH" panose="02010600010101010101" pitchFamily="2" charset="-122"/>
                  <a:ea typeface="FZSJ-YANGGNH" panose="02010600010101010101" pitchFamily="2" charset="-122"/>
                </a:rPr>
                <a:t>标题</a:t>
              </a:r>
              <a:endParaRPr lang="zh-CN" altLang="zh-CN" sz="2000" dirty="0">
                <a:latin typeface="FZSJ-YANGGNH" panose="02010600010101010101" pitchFamily="2" charset="-122"/>
                <a:ea typeface="FZSJ-YANGGNH" panose="02010600010101010101" pitchFamily="2" charset="-122"/>
              </a:endParaRPr>
            </a:p>
          </p:txBody>
        </p:sp>
      </p:grpSp>
      <p:grpSp>
        <p:nvGrpSpPr>
          <p:cNvPr id="55" name="组合 54"/>
          <p:cNvGrpSpPr/>
          <p:nvPr/>
        </p:nvGrpSpPr>
        <p:grpSpPr>
          <a:xfrm>
            <a:off x="5940152" y="2589573"/>
            <a:ext cx="1144544" cy="1362910"/>
            <a:chOff x="6515101" y="3641129"/>
            <a:chExt cx="1526059" cy="1817212"/>
          </a:xfrm>
        </p:grpSpPr>
        <p:sp>
          <p:nvSpPr>
            <p:cNvPr id="56" name="Rectangle 16"/>
            <p:cNvSpPr>
              <a:spLocks noChangeArrowheads="1"/>
            </p:cNvSpPr>
            <p:nvPr/>
          </p:nvSpPr>
          <p:spPr bwMode="auto">
            <a:xfrm>
              <a:off x="65151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FZSJ-YANGGNH" panose="02010600010101010101" pitchFamily="2" charset="-122"/>
                  <a:ea typeface="FZSJ-YANGGNH" panose="02010600010101010101" pitchFamily="2" charset="-122"/>
                </a:rPr>
                <a:t>请在此添加标题</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7" name="Rectangle 17"/>
            <p:cNvSpPr>
              <a:spLocks noChangeArrowheads="1"/>
            </p:cNvSpPr>
            <p:nvPr/>
          </p:nvSpPr>
          <p:spPr bwMode="auto">
            <a:xfrm>
              <a:off x="6748462"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8" name="Rectangle 18"/>
            <p:cNvSpPr>
              <a:spLocks noChangeArrowheads="1"/>
            </p:cNvSpPr>
            <p:nvPr/>
          </p:nvSpPr>
          <p:spPr bwMode="auto">
            <a:xfrm>
              <a:off x="6748462"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59" name="Rectangle 19"/>
            <p:cNvSpPr>
              <a:spLocks noChangeArrowheads="1"/>
            </p:cNvSpPr>
            <p:nvPr/>
          </p:nvSpPr>
          <p:spPr bwMode="auto">
            <a:xfrm>
              <a:off x="6748462"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60" name="Rectangle 20"/>
            <p:cNvSpPr>
              <a:spLocks noChangeArrowheads="1"/>
            </p:cNvSpPr>
            <p:nvPr/>
          </p:nvSpPr>
          <p:spPr bwMode="auto">
            <a:xfrm>
              <a:off x="6748462"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FZSJ-YANGGNH" panose="02010600010101010101" pitchFamily="2" charset="-122"/>
                  <a:ea typeface="FZSJ-YANGGNH" panose="02010600010101010101" pitchFamily="2" charset="-122"/>
                </a:rPr>
                <a:t>请输入您的内容</a:t>
              </a:r>
              <a:endParaRPr lang="zh-CN" altLang="zh-CN" sz="1350">
                <a:solidFill>
                  <a:schemeClr val="accent1"/>
                </a:solidFill>
                <a:latin typeface="FZSJ-YANGGNH" panose="02010600010101010101" pitchFamily="2" charset="-122"/>
                <a:ea typeface="FZSJ-YANGGNH" panose="02010600010101010101" pitchFamily="2" charset="-122"/>
              </a:endParaRPr>
            </a:p>
          </p:txBody>
        </p:sp>
        <p:sp>
          <p:nvSpPr>
            <p:cNvPr id="61" name="Rectangle 41"/>
            <p:cNvSpPr>
              <a:spLocks noChangeArrowheads="1"/>
            </p:cNvSpPr>
            <p:nvPr/>
          </p:nvSpPr>
          <p:spPr bwMode="auto">
            <a:xfrm>
              <a:off x="6888470"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smtClean="0">
                  <a:solidFill>
                    <a:schemeClr val="bg2"/>
                  </a:solidFill>
                  <a:latin typeface="FZSJ-YANGGNH" panose="02010600010101010101" pitchFamily="2" charset="-122"/>
                  <a:ea typeface="FZSJ-YANGGNH" panose="02010600010101010101" pitchFamily="2" charset="-122"/>
                </a:rPr>
                <a:t>标题</a:t>
              </a:r>
              <a:endParaRPr lang="zh-CN" altLang="zh-CN" sz="2000" dirty="0">
                <a:solidFill>
                  <a:schemeClr val="bg2"/>
                </a:solidFill>
                <a:latin typeface="FZSJ-YANGGNH" panose="02010600010101010101" pitchFamily="2" charset="-122"/>
                <a:ea typeface="FZSJ-YANGGNH" panose="02010600010101010101" pitchFamily="2" charset="-122"/>
              </a:endParaRPr>
            </a:p>
          </p:txBody>
        </p:sp>
      </p:grpSp>
    </p:spTree>
    <p:extLst>
      <p:ext uri="{BB962C8B-B14F-4D97-AF65-F5344CB8AC3E}">
        <p14:creationId xmlns:p14="http://schemas.microsoft.com/office/powerpoint/2010/main" val="2419035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anim calcmode="lin" valueType="num">
                                      <p:cBhvr>
                                        <p:cTn id="11" dur="1000" fill="hold"/>
                                        <p:tgtEl>
                                          <p:spTgt spid="19"/>
                                        </p:tgtEl>
                                        <p:attrNameLst>
                                          <p:attrName>ppt_x</p:attrName>
                                        </p:attrNameLst>
                                      </p:cBhvr>
                                      <p:tavLst>
                                        <p:tav tm="0">
                                          <p:val>
                                            <p:strVal val="#ppt_x"/>
                                          </p:val>
                                        </p:tav>
                                        <p:tav tm="100000">
                                          <p:val>
                                            <p:strVal val="#ppt_x"/>
                                          </p:val>
                                        </p:tav>
                                      </p:tavLst>
                                    </p:anim>
                                    <p:anim calcmode="lin" valueType="num">
                                      <p:cBhvr>
                                        <p:cTn id="12" dur="1000" fill="hold"/>
                                        <p:tgtEl>
                                          <p:spTgt spid="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anim calcmode="lin" valueType="num">
                                      <p:cBhvr>
                                        <p:cTn id="16" dur="1000" fill="hold"/>
                                        <p:tgtEl>
                                          <p:spTgt spid="23"/>
                                        </p:tgtEl>
                                        <p:attrNameLst>
                                          <p:attrName>ppt_x</p:attrName>
                                        </p:attrNameLst>
                                      </p:cBhvr>
                                      <p:tavLst>
                                        <p:tav tm="0">
                                          <p:val>
                                            <p:strVal val="#ppt_x"/>
                                          </p:val>
                                        </p:tav>
                                        <p:tav tm="100000">
                                          <p:val>
                                            <p:strVal val="#ppt_x"/>
                                          </p:val>
                                        </p:tav>
                                      </p:tavLst>
                                    </p:anim>
                                    <p:anim calcmode="lin" valueType="num">
                                      <p:cBhvr>
                                        <p:cTn id="17" dur="1000" fill="hold"/>
                                        <p:tgtEl>
                                          <p:spTgt spid="23"/>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1000"/>
                                        <p:tgtEl>
                                          <p:spTgt spid="27"/>
                                        </p:tgtEl>
                                      </p:cBhvr>
                                    </p:animEffect>
                                    <p:anim calcmode="lin" valueType="num">
                                      <p:cBhvr>
                                        <p:cTn id="21" dur="1000" fill="hold"/>
                                        <p:tgtEl>
                                          <p:spTgt spid="27"/>
                                        </p:tgtEl>
                                        <p:attrNameLst>
                                          <p:attrName>ppt_x</p:attrName>
                                        </p:attrNameLst>
                                      </p:cBhvr>
                                      <p:tavLst>
                                        <p:tav tm="0">
                                          <p:val>
                                            <p:strVal val="#ppt_x"/>
                                          </p:val>
                                        </p:tav>
                                        <p:tav tm="100000">
                                          <p:val>
                                            <p:strVal val="#ppt_x"/>
                                          </p:val>
                                        </p:tav>
                                      </p:tavLst>
                                    </p:anim>
                                    <p:anim calcmode="lin" valueType="num">
                                      <p:cBhvr>
                                        <p:cTn id="22" dur="1000" fill="hold"/>
                                        <p:tgtEl>
                                          <p:spTgt spid="27"/>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1000"/>
                                        <p:tgtEl>
                                          <p:spTgt spid="31"/>
                                        </p:tgtEl>
                                      </p:cBhvr>
                                    </p:animEffect>
                                    <p:anim calcmode="lin" valueType="num">
                                      <p:cBhvr>
                                        <p:cTn id="26" dur="1000" fill="hold"/>
                                        <p:tgtEl>
                                          <p:spTgt spid="31"/>
                                        </p:tgtEl>
                                        <p:attrNameLst>
                                          <p:attrName>ppt_x</p:attrName>
                                        </p:attrNameLst>
                                      </p:cBhvr>
                                      <p:tavLst>
                                        <p:tav tm="0">
                                          <p:val>
                                            <p:strVal val="#ppt_x"/>
                                          </p:val>
                                        </p:tav>
                                        <p:tav tm="100000">
                                          <p:val>
                                            <p:strVal val="#ppt_x"/>
                                          </p:val>
                                        </p:tav>
                                      </p:tavLst>
                                    </p:anim>
                                    <p:anim calcmode="lin" valueType="num">
                                      <p:cBhvr>
                                        <p:cTn id="27" dur="1000" fill="hold"/>
                                        <p:tgtEl>
                                          <p:spTgt spid="31"/>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1000"/>
                                        <p:tgtEl>
                                          <p:spTgt spid="39"/>
                                        </p:tgtEl>
                                      </p:cBhvr>
                                    </p:animEffect>
                                    <p:anim calcmode="lin" valueType="num">
                                      <p:cBhvr>
                                        <p:cTn id="31" dur="1000" fill="hold"/>
                                        <p:tgtEl>
                                          <p:spTgt spid="39"/>
                                        </p:tgtEl>
                                        <p:attrNameLst>
                                          <p:attrName>ppt_x</p:attrName>
                                        </p:attrNameLst>
                                      </p:cBhvr>
                                      <p:tavLst>
                                        <p:tav tm="0">
                                          <p:val>
                                            <p:strVal val="#ppt_x"/>
                                          </p:val>
                                        </p:tav>
                                        <p:tav tm="100000">
                                          <p:val>
                                            <p:strVal val="#ppt_x"/>
                                          </p:val>
                                        </p:tav>
                                      </p:tavLst>
                                    </p:anim>
                                    <p:anim calcmode="lin" valueType="num">
                                      <p:cBhvr>
                                        <p:cTn id="32" dur="1000" fill="hold"/>
                                        <p:tgtEl>
                                          <p:spTgt spid="39"/>
                                        </p:tgtEl>
                                        <p:attrNameLst>
                                          <p:attrName>ppt_y</p:attrName>
                                        </p:attrNameLst>
                                      </p:cBhvr>
                                      <p:tavLst>
                                        <p:tav tm="0">
                                          <p:val>
                                            <p:strVal val="#ppt_y-.1"/>
                                          </p:val>
                                        </p:tav>
                                        <p:tav tm="100000">
                                          <p:val>
                                            <p:strVal val="#ppt_y"/>
                                          </p:val>
                                        </p:tav>
                                      </p:tavLst>
                                    </p:anim>
                                  </p:childTnLst>
                                </p:cTn>
                              </p:par>
                              <p:par>
                                <p:cTn id="33" presetID="47"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1000"/>
                                        <p:tgtEl>
                                          <p:spTgt spid="40"/>
                                        </p:tgtEl>
                                      </p:cBhvr>
                                    </p:animEffect>
                                    <p:anim calcmode="lin" valueType="num">
                                      <p:cBhvr>
                                        <p:cTn id="36" dur="1000" fill="hold"/>
                                        <p:tgtEl>
                                          <p:spTgt spid="40"/>
                                        </p:tgtEl>
                                        <p:attrNameLst>
                                          <p:attrName>ppt_x</p:attrName>
                                        </p:attrNameLst>
                                      </p:cBhvr>
                                      <p:tavLst>
                                        <p:tav tm="0">
                                          <p:val>
                                            <p:strVal val="#ppt_x"/>
                                          </p:val>
                                        </p:tav>
                                        <p:tav tm="100000">
                                          <p:val>
                                            <p:strVal val="#ppt_x"/>
                                          </p:val>
                                        </p:tav>
                                      </p:tavLst>
                                    </p:anim>
                                    <p:anim calcmode="lin" valueType="num">
                                      <p:cBhvr>
                                        <p:cTn id="37" dur="1000" fill="hold"/>
                                        <p:tgtEl>
                                          <p:spTgt spid="4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70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1000"/>
                                        <p:tgtEl>
                                          <p:spTgt spid="41"/>
                                        </p:tgtEl>
                                      </p:cBhvr>
                                    </p:animEffect>
                                    <p:anim calcmode="lin" valueType="num">
                                      <p:cBhvr>
                                        <p:cTn id="41" dur="1000" fill="hold"/>
                                        <p:tgtEl>
                                          <p:spTgt spid="41"/>
                                        </p:tgtEl>
                                        <p:attrNameLst>
                                          <p:attrName>ppt_x</p:attrName>
                                        </p:attrNameLst>
                                      </p:cBhvr>
                                      <p:tavLst>
                                        <p:tav tm="0">
                                          <p:val>
                                            <p:strVal val="#ppt_x"/>
                                          </p:val>
                                        </p:tav>
                                        <p:tav tm="100000">
                                          <p:val>
                                            <p:strVal val="#ppt_x"/>
                                          </p:val>
                                        </p:tav>
                                      </p:tavLst>
                                    </p:anim>
                                    <p:anim calcmode="lin" valueType="num">
                                      <p:cBhvr>
                                        <p:cTn id="42" dur="1000" fill="hold"/>
                                        <p:tgtEl>
                                          <p:spTgt spid="41"/>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100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1000"/>
                                        <p:tgtEl>
                                          <p:spTgt spid="48"/>
                                        </p:tgtEl>
                                      </p:cBhvr>
                                    </p:animEffect>
                                    <p:anim calcmode="lin" valueType="num">
                                      <p:cBhvr>
                                        <p:cTn id="46" dur="1000" fill="hold"/>
                                        <p:tgtEl>
                                          <p:spTgt spid="48"/>
                                        </p:tgtEl>
                                        <p:attrNameLst>
                                          <p:attrName>ppt_x</p:attrName>
                                        </p:attrNameLst>
                                      </p:cBhvr>
                                      <p:tavLst>
                                        <p:tav tm="0">
                                          <p:val>
                                            <p:strVal val="#ppt_x"/>
                                          </p:val>
                                        </p:tav>
                                        <p:tav tm="100000">
                                          <p:val>
                                            <p:strVal val="#ppt_x"/>
                                          </p:val>
                                        </p:tav>
                                      </p:tavLst>
                                    </p:anim>
                                    <p:anim calcmode="lin" valueType="num">
                                      <p:cBhvr>
                                        <p:cTn id="47" dur="1000" fill="hold"/>
                                        <p:tgtEl>
                                          <p:spTgt spid="48"/>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140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1000"/>
                                        <p:tgtEl>
                                          <p:spTgt spid="55"/>
                                        </p:tgtEl>
                                      </p:cBhvr>
                                    </p:animEffect>
                                    <p:anim calcmode="lin" valueType="num">
                                      <p:cBhvr>
                                        <p:cTn id="51" dur="1000" fill="hold"/>
                                        <p:tgtEl>
                                          <p:spTgt spid="55"/>
                                        </p:tgtEl>
                                        <p:attrNameLst>
                                          <p:attrName>ppt_x</p:attrName>
                                        </p:attrNameLst>
                                      </p:cBhvr>
                                      <p:tavLst>
                                        <p:tav tm="0">
                                          <p:val>
                                            <p:strVal val="#ppt_x"/>
                                          </p:val>
                                        </p:tav>
                                        <p:tav tm="100000">
                                          <p:val>
                                            <p:strVal val="#ppt_x"/>
                                          </p:val>
                                        </p:tav>
                                      </p:tavLst>
                                    </p:anim>
                                    <p:anim calcmode="lin" valueType="num">
                                      <p:cBhvr>
                                        <p:cTn id="52"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latin typeface="FZSJ-YANGGNH" panose="02010600010101010101" pitchFamily="2" charset="-122"/>
                <a:ea typeface="FZSJ-YANGGNH" panose="02010600010101010101" pitchFamily="2" charset="-122"/>
              </a:rPr>
              <a:t>标题内容</a:t>
            </a:r>
            <a:endParaRPr lang="en-US" altLang="zh-CN" sz="2800" dirty="0">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p:txBody>
      </p:sp>
      <p:sp>
        <p:nvSpPr>
          <p:cNvPr id="21" name="矩形 20"/>
          <p:cNvSpPr/>
          <p:nvPr/>
        </p:nvSpPr>
        <p:spPr>
          <a:xfrm>
            <a:off x="4696361" y="1203598"/>
            <a:ext cx="1978675" cy="817522"/>
          </a:xfrm>
          <a:prstGeom prst="rect">
            <a:avLst/>
          </a:prstGeom>
        </p:spPr>
        <p:txBody>
          <a:bodyPr lIns="86404" tIns="43202" rIns="86404" bIns="43202"/>
          <a:lstStyle/>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p:txBody>
      </p:sp>
      <p:sp>
        <p:nvSpPr>
          <p:cNvPr id="22" name="矩形 21"/>
          <p:cNvSpPr/>
          <p:nvPr/>
        </p:nvSpPr>
        <p:spPr>
          <a:xfrm>
            <a:off x="2968169"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p:txBody>
      </p:sp>
      <p:sp>
        <p:nvSpPr>
          <p:cNvPr id="23" name="矩形 22"/>
          <p:cNvSpPr/>
          <p:nvPr/>
        </p:nvSpPr>
        <p:spPr>
          <a:xfrm>
            <a:off x="6352545" y="3398155"/>
            <a:ext cx="1978675"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a:p>
            <a:pPr>
              <a:lnSpc>
                <a:spcPct val="120000"/>
              </a:lnSpc>
              <a:defRPr/>
            </a:pPr>
            <a:r>
              <a:rPr lang="zh-CN" altLang="en-US" sz="1300" dirty="0">
                <a:solidFill>
                  <a:schemeClr val="accent1"/>
                </a:solidFill>
                <a:latin typeface="FZSJ-YANGGNH" panose="02010600010101010101" pitchFamily="2" charset="-122"/>
                <a:ea typeface="FZSJ-YANGGNH" panose="02010600010101010101" pitchFamily="2" charset="-122"/>
              </a:rPr>
              <a:t>请在此处输入您的文本</a:t>
            </a:r>
            <a:endParaRPr lang="en-US" altLang="zh-CN" sz="1300" dirty="0">
              <a:solidFill>
                <a:schemeClr val="accent1"/>
              </a:solidFill>
              <a:latin typeface="FZSJ-YANGGNH" panose="02010600010101010101" pitchFamily="2" charset="-122"/>
              <a:ea typeface="FZSJ-YANGGNH" panose="02010600010101010101" pitchFamily="2" charset="-122"/>
            </a:endParaRP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FZSJ-YANGGNH" panose="02010600010101010101" pitchFamily="2" charset="-122"/>
                <a:ea typeface="FZSJ-YANGGNH" panose="02010600010101010101" pitchFamily="2" charset="-122"/>
              </a:rPr>
              <a:t>添加文字</a:t>
            </a:r>
            <a:endParaRPr lang="zh-CN" altLang="en-US" sz="2300" dirty="0">
              <a:solidFill>
                <a:schemeClr val="accent2"/>
              </a:solidFill>
              <a:latin typeface="FZSJ-YANGGNH" panose="02010600010101010101" pitchFamily="2" charset="-122"/>
              <a:ea typeface="FZSJ-YANGGNH" panose="02010600010101010101" pitchFamily="2" charset="-122"/>
            </a:endParaRP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FZSJ-YANGGNH" panose="02010600010101010101" pitchFamily="2" charset="-122"/>
                <a:ea typeface="FZSJ-YANGGNH" panose="02010600010101010101" pitchFamily="2" charset="-122"/>
              </a:rPr>
              <a:t>添加文字</a:t>
            </a:r>
            <a:endParaRPr lang="zh-CN" altLang="en-US" sz="2300" dirty="0">
              <a:solidFill>
                <a:schemeClr val="accent2"/>
              </a:solidFill>
              <a:latin typeface="FZSJ-YANGGNH" panose="02010600010101010101" pitchFamily="2" charset="-122"/>
              <a:ea typeface="FZSJ-YANGGNH" panose="02010600010101010101" pitchFamily="2" charset="-122"/>
            </a:endParaRP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FZSJ-YANGGNH" panose="02010600010101010101" pitchFamily="2" charset="-122"/>
                <a:ea typeface="FZSJ-YANGGNH" panose="02010600010101010101" pitchFamily="2" charset="-122"/>
              </a:rPr>
              <a:t>添加文字</a:t>
            </a:r>
            <a:endParaRPr lang="zh-CN" altLang="en-US" sz="2300" dirty="0">
              <a:solidFill>
                <a:schemeClr val="accent2"/>
              </a:solidFill>
              <a:latin typeface="FZSJ-YANGGNH" panose="02010600010101010101" pitchFamily="2" charset="-122"/>
              <a:ea typeface="FZSJ-YANGGNH" panose="02010600010101010101" pitchFamily="2" charset="-122"/>
            </a:endParaRP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smtClean="0">
                <a:solidFill>
                  <a:schemeClr val="accent2"/>
                </a:solidFill>
                <a:latin typeface="FZSJ-YANGGNH" panose="02010600010101010101" pitchFamily="2" charset="-122"/>
                <a:ea typeface="FZSJ-YANGGNH" panose="02010600010101010101" pitchFamily="2" charset="-122"/>
              </a:rPr>
              <a:t>添加文字</a:t>
            </a:r>
            <a:endParaRPr lang="zh-CN" altLang="en-US" sz="2300" dirty="0">
              <a:solidFill>
                <a:schemeClr val="accent2"/>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59714117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1"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 calcmode="lin" valueType="num">
                                      <p:cBhvr additive="base">
                                        <p:cTn id="33" dur="500" fill="hold"/>
                                        <p:tgtEl>
                                          <p:spTgt spid="26"/>
                                        </p:tgtEl>
                                        <p:attrNameLst>
                                          <p:attrName>ppt_x</p:attrName>
                                        </p:attrNameLst>
                                      </p:cBhvr>
                                      <p:tavLst>
                                        <p:tav tm="0">
                                          <p:val>
                                            <p:strVal val="#ppt_x"/>
                                          </p:val>
                                        </p:tav>
                                        <p:tav tm="100000">
                                          <p:val>
                                            <p:strVal val="#ppt_x"/>
                                          </p:val>
                                        </p:tav>
                                      </p:tavLst>
                                    </p:anim>
                                    <p:anim calcmode="lin" valueType="num">
                                      <p:cBhvr additive="base">
                                        <p:cTn id="34" dur="500" fill="hold"/>
                                        <p:tgtEl>
                                          <p:spTgt spid="26"/>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down)">
                                      <p:cBhvr>
                                        <p:cTn id="38" dur="500"/>
                                        <p:tgtEl>
                                          <p:spTgt spid="11"/>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4500"/>
                            </p:stCondLst>
                            <p:childTnLst>
                              <p:par>
                                <p:cTn id="44" presetID="2" presetClass="entr" presetSubtype="1"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0-#ppt_h/2"/>
                                          </p:val>
                                        </p:tav>
                                        <p:tav tm="100000">
                                          <p:val>
                                            <p:strVal val="#ppt_y"/>
                                          </p:val>
                                        </p:tav>
                                      </p:tavLst>
                                    </p:anim>
                                  </p:childTnLst>
                                </p:cTn>
                              </p:par>
                            </p:childTnLst>
                          </p:cTn>
                        </p:par>
                        <p:par>
                          <p:cTn id="48" fill="hold">
                            <p:stCondLst>
                              <p:cond delay="5000"/>
                            </p:stCondLst>
                            <p:childTnLst>
                              <p:par>
                                <p:cTn id="49" presetID="22" presetClass="entr" presetSubtype="1"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wipe(left)">
                                      <p:cBhvr>
                                        <p:cTn id="5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animBg="1"/>
      <p:bldP spid="25" grpId="0" animBg="1"/>
      <p:bldP spid="26" grpId="0" animBg="1"/>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147015" cy="1015663"/>
          </a:xfrm>
          <a:prstGeom prst="rect">
            <a:avLst/>
          </a:prstGeom>
          <a:noFill/>
        </p:spPr>
        <p:txBody>
          <a:bodyPr wrap="none" rtlCol="0">
            <a:spAutoFit/>
          </a:bodyPr>
          <a:lstStyle/>
          <a:p>
            <a:r>
              <a:rPr lang="en-US" altLang="zh-CN" sz="6000" dirty="0" smtClean="0">
                <a:solidFill>
                  <a:srgbClr val="829662"/>
                </a:solidFill>
                <a:latin typeface="FZSJ-YANGGNH" panose="02010600010101010101" pitchFamily="2" charset="-122"/>
                <a:ea typeface="FZSJ-YANGGNH" panose="02010600010101010101" pitchFamily="2" charset="-122"/>
              </a:rPr>
              <a:t>03content</a:t>
            </a:r>
            <a:endParaRPr lang="zh-CN" altLang="en-US" sz="6000" dirty="0">
              <a:solidFill>
                <a:srgbClr val="829662"/>
              </a:solidFill>
              <a:latin typeface="FZSJ-YANGGNH" panose="02010600010101010101" pitchFamily="2" charset="-122"/>
              <a:ea typeface="FZSJ-YANGGNH" panose="02010600010101010101" pitchFamily="2" charset="-122"/>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23753653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auto">
          <a:xfrm>
            <a:off x="1116186" y="1563638"/>
            <a:ext cx="1150937" cy="1150937"/>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b="1" dirty="0" smtClean="0">
                <a:latin typeface="FZSJ-YANGGNH" panose="02010600010101010101" pitchFamily="2" charset="-122"/>
                <a:ea typeface="FZSJ-YANGGNH" panose="02010600010101010101" pitchFamily="2" charset="-122"/>
              </a:rPr>
              <a:t> 标题</a:t>
            </a:r>
            <a:endParaRPr lang="en-US" altLang="zh-CN" b="1" dirty="0">
              <a:latin typeface="FZSJ-YANGGNH" panose="02010600010101010101" pitchFamily="2" charset="-122"/>
              <a:ea typeface="FZSJ-YANGGNH" panose="02010600010101010101" pitchFamily="2" charset="-122"/>
            </a:endParaRPr>
          </a:p>
        </p:txBody>
      </p:sp>
      <p:sp>
        <p:nvSpPr>
          <p:cNvPr id="9" name="Oval 8"/>
          <p:cNvSpPr>
            <a:spLocks noChangeArrowheads="1"/>
          </p:cNvSpPr>
          <p:nvPr/>
        </p:nvSpPr>
        <p:spPr bwMode="auto">
          <a:xfrm>
            <a:off x="7092280" y="1635075"/>
            <a:ext cx="1008063" cy="1008063"/>
          </a:xfrm>
          <a:prstGeom prst="ellipse">
            <a:avLst/>
          </a:prstGeom>
          <a:solidFill>
            <a:schemeClr val="bg1"/>
          </a:solidFill>
          <a:ln>
            <a:noFill/>
          </a:ln>
          <a:effectLst/>
          <a:extLst/>
        </p:spPr>
        <p:txBody>
          <a:bodyPr wrap="none" anchor="ctr"/>
          <a:lstStyle/>
          <a:p>
            <a:r>
              <a:rPr lang="zh-CN" altLang="en-US" dirty="0" smtClean="0">
                <a:solidFill>
                  <a:schemeClr val="accent2"/>
                </a:solidFill>
                <a:latin typeface="FZSJ-YANGGNH" panose="02010600010101010101" pitchFamily="2" charset="-122"/>
                <a:ea typeface="FZSJ-YANGGNH" panose="02010600010101010101" pitchFamily="2" charset="-122"/>
              </a:rPr>
              <a:t>内容</a:t>
            </a:r>
            <a:endParaRPr lang="en-US" altLang="zh-CN" dirty="0">
              <a:solidFill>
                <a:schemeClr val="accent2"/>
              </a:solidFill>
              <a:latin typeface="FZSJ-YANGGNH" panose="02010600010101010101" pitchFamily="2" charset="-122"/>
              <a:ea typeface="FZSJ-YANGGNH" panose="02010600010101010101" pitchFamily="2" charset="-122"/>
            </a:endParaRPr>
          </a:p>
        </p:txBody>
      </p:sp>
      <p:sp>
        <p:nvSpPr>
          <p:cNvPr id="10" name="Line 9"/>
          <p:cNvSpPr>
            <a:spLocks noChangeShapeType="1"/>
          </p:cNvSpPr>
          <p:nvPr/>
        </p:nvSpPr>
        <p:spPr bwMode="auto">
          <a:xfrm flipH="1">
            <a:off x="2483023" y="2139900"/>
            <a:ext cx="4465241" cy="0"/>
          </a:xfrm>
          <a:prstGeom prst="line">
            <a:avLst/>
          </a:prstGeom>
          <a:noFill/>
          <a:ln w="12700">
            <a:solidFill>
              <a:schemeClr val="bg1"/>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FZSJ-YANGGNH" panose="02010600010101010101" pitchFamily="2" charset="-122"/>
              <a:ea typeface="FZSJ-YANGGNH" panose="02010600010101010101" pitchFamily="2" charset="-122"/>
            </a:endParaRPr>
          </a:p>
        </p:txBody>
      </p:sp>
      <p:sp>
        <p:nvSpPr>
          <p:cNvPr id="11" name="Rectangle 10"/>
          <p:cNvSpPr>
            <a:spLocks noChangeArrowheads="1"/>
          </p:cNvSpPr>
          <p:nvPr/>
        </p:nvSpPr>
        <p:spPr bwMode="auto">
          <a:xfrm>
            <a:off x="2483023" y="1635075"/>
            <a:ext cx="51847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smtClean="0">
                <a:solidFill>
                  <a:schemeClr val="accent1"/>
                </a:solidFill>
                <a:latin typeface="FZSJ-YANGGNH" panose="02010600010101010101" pitchFamily="2" charset="-122"/>
                <a:ea typeface="FZSJ-YANGGNH" panose="02010600010101010101" pitchFamily="2" charset="-122"/>
              </a:rPr>
              <a:t>请输入文字内容及说明</a:t>
            </a:r>
            <a:endParaRPr lang="en-US" altLang="zh-CN" sz="1400" dirty="0">
              <a:solidFill>
                <a:schemeClr val="accent1"/>
              </a:solidFill>
              <a:latin typeface="FZSJ-YANGGNH" panose="02010600010101010101" pitchFamily="2" charset="-122"/>
              <a:ea typeface="FZSJ-YANGGNH" panose="02010600010101010101" pitchFamily="2" charset="-122"/>
            </a:endParaRPr>
          </a:p>
        </p:txBody>
      </p:sp>
      <p:sp>
        <p:nvSpPr>
          <p:cNvPr id="12" name="Oval 12"/>
          <p:cNvSpPr>
            <a:spLocks noChangeArrowheads="1"/>
          </p:cNvSpPr>
          <p:nvPr/>
        </p:nvSpPr>
        <p:spPr bwMode="auto">
          <a:xfrm>
            <a:off x="5220121" y="3146375"/>
            <a:ext cx="1008062" cy="1008063"/>
          </a:xfrm>
          <a:prstGeom prst="ellipse">
            <a:avLst/>
          </a:prstGeom>
          <a:solidFill>
            <a:schemeClr val="tx2"/>
          </a:solidFill>
          <a:ln>
            <a:noFill/>
          </a:ln>
          <a:effectLst/>
          <a:extLst/>
        </p:spPr>
        <p:txBody>
          <a:bodyPr wrap="none" anchor="ctr"/>
          <a:lstStyle/>
          <a:p>
            <a:r>
              <a:rPr lang="zh-CN" altLang="en-US" dirty="0" smtClean="0">
                <a:solidFill>
                  <a:schemeClr val="accent2"/>
                </a:solidFill>
                <a:latin typeface="FZSJ-YANGGNH" panose="02010600010101010101" pitchFamily="2" charset="-122"/>
                <a:ea typeface="FZSJ-YANGGNH" panose="02010600010101010101" pitchFamily="2" charset="-122"/>
              </a:rPr>
              <a:t>内容</a:t>
            </a:r>
            <a:endParaRPr lang="en-US" altLang="zh-CN" dirty="0">
              <a:solidFill>
                <a:schemeClr val="accent2"/>
              </a:solidFill>
              <a:latin typeface="FZSJ-YANGGNH" panose="02010600010101010101" pitchFamily="2" charset="-122"/>
              <a:ea typeface="FZSJ-YANGGNH" panose="02010600010101010101" pitchFamily="2" charset="-122"/>
            </a:endParaRPr>
          </a:p>
        </p:txBody>
      </p:sp>
      <p:sp>
        <p:nvSpPr>
          <p:cNvPr id="13" name="Line 13"/>
          <p:cNvSpPr>
            <a:spLocks noChangeShapeType="1"/>
          </p:cNvSpPr>
          <p:nvPr/>
        </p:nvSpPr>
        <p:spPr bwMode="auto">
          <a:xfrm flipH="1">
            <a:off x="2483023" y="3651200"/>
            <a:ext cx="2592387" cy="0"/>
          </a:xfrm>
          <a:prstGeom prst="line">
            <a:avLst/>
          </a:prstGeom>
          <a:noFill/>
          <a:ln w="12700">
            <a:solidFill>
              <a:schemeClr val="tx2"/>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FZSJ-YANGGNH" panose="02010600010101010101" pitchFamily="2" charset="-122"/>
              <a:ea typeface="FZSJ-YANGGNH" panose="02010600010101010101" pitchFamily="2" charset="-122"/>
            </a:endParaRPr>
          </a:p>
        </p:txBody>
      </p:sp>
      <p:sp>
        <p:nvSpPr>
          <p:cNvPr id="14" name="Rectangle 14"/>
          <p:cNvSpPr>
            <a:spLocks noChangeArrowheads="1"/>
          </p:cNvSpPr>
          <p:nvPr/>
        </p:nvSpPr>
        <p:spPr bwMode="auto">
          <a:xfrm>
            <a:off x="2483023" y="3146375"/>
            <a:ext cx="2881313"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a:solidFill>
                  <a:schemeClr val="accent1"/>
                </a:solidFill>
                <a:latin typeface="FZSJ-YANGGNH" panose="02010600010101010101" pitchFamily="2" charset="-122"/>
                <a:ea typeface="FZSJ-YANGGNH" panose="02010600010101010101" pitchFamily="2" charset="-122"/>
              </a:rPr>
              <a:t>请输入文字</a:t>
            </a:r>
            <a:r>
              <a:rPr lang="zh-CN" altLang="en-US" sz="1400" dirty="0" smtClean="0">
                <a:solidFill>
                  <a:schemeClr val="accent1"/>
                </a:solidFill>
                <a:latin typeface="FZSJ-YANGGNH" panose="02010600010101010101" pitchFamily="2" charset="-122"/>
                <a:ea typeface="FZSJ-YANGGNH" panose="02010600010101010101" pitchFamily="2" charset="-122"/>
              </a:rPr>
              <a:t>内容</a:t>
            </a:r>
            <a:endParaRPr lang="en-US" altLang="zh-CN" sz="1400" dirty="0">
              <a:solidFill>
                <a:schemeClr val="accent1"/>
              </a:solidFill>
              <a:latin typeface="FZSJ-YANGGNH" panose="02010600010101010101" pitchFamily="2" charset="-122"/>
              <a:ea typeface="FZSJ-YANGGNH" panose="02010600010101010101" pitchFamily="2" charset="-122"/>
            </a:endParaRPr>
          </a:p>
        </p:txBody>
      </p:sp>
      <p:sp>
        <p:nvSpPr>
          <p:cNvPr id="15" name="Oval 15"/>
          <p:cNvSpPr>
            <a:spLocks noChangeArrowheads="1"/>
          </p:cNvSpPr>
          <p:nvPr/>
        </p:nvSpPr>
        <p:spPr bwMode="auto">
          <a:xfrm>
            <a:off x="1116186" y="3073326"/>
            <a:ext cx="1150937" cy="1150938"/>
          </a:xfrm>
          <a:prstGeom prst="ellipse">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16" name="Oval 16"/>
          <p:cNvSpPr>
            <a:spLocks noChangeArrowheads="1"/>
          </p:cNvSpPr>
          <p:nvPr/>
        </p:nvSpPr>
        <p:spPr bwMode="auto">
          <a:xfrm>
            <a:off x="1187623" y="3144764"/>
            <a:ext cx="1008063" cy="1008062"/>
          </a:xfrm>
          <a:prstGeom prst="ellipse">
            <a:avLst/>
          </a:prstGeom>
          <a:solidFill>
            <a:schemeClr val="bg2"/>
          </a:solidFill>
          <a:ln>
            <a:noFill/>
          </a:ln>
          <a:effectLst/>
          <a:extLst/>
        </p:spPr>
        <p:txBody>
          <a:bodyPr wrap="none" anchor="ctr"/>
          <a:lstStyle/>
          <a:p>
            <a:r>
              <a:rPr lang="zh-CN" altLang="en-US" dirty="0" smtClean="0">
                <a:solidFill>
                  <a:schemeClr val="accent2"/>
                </a:solidFill>
                <a:latin typeface="FZSJ-YANGGNH" panose="02010600010101010101" pitchFamily="2" charset="-122"/>
                <a:ea typeface="FZSJ-YANGGNH" panose="02010600010101010101" pitchFamily="2" charset="-122"/>
              </a:rPr>
              <a:t>标题</a:t>
            </a:r>
            <a:endParaRPr lang="en-US" altLang="zh-CN" dirty="0">
              <a:solidFill>
                <a:schemeClr val="accent2"/>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226640510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22" presetClass="entr" presetSubtype="2"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right)">
                                      <p:cBhvr>
                                        <p:cTn id="19" dur="500"/>
                                        <p:tgtEl>
                                          <p:spTgt spid="10"/>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500"/>
                                        <p:tgtEl>
                                          <p:spTgt spid="13"/>
                                        </p:tgtEl>
                                      </p:cBhvr>
                                    </p:animEffect>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right)">
                                      <p:cBhvr>
                                        <p:cTn id="35" dur="500"/>
                                        <p:tgtEl>
                                          <p:spTgt spid="14"/>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animBg="1"/>
      <p:bldP spid="14" grpId="0"/>
      <p:bldP spid="15"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AutoShape 4"/>
          <p:cNvSpPr>
            <a:spLocks noChangeArrowheads="1"/>
          </p:cNvSpPr>
          <p:nvPr>
            <p:custDataLst>
              <p:tags r:id="rId1"/>
            </p:custDataLst>
          </p:nvPr>
        </p:nvSpPr>
        <p:spPr bwMode="white">
          <a:xfrm>
            <a:off x="1004575" y="1709754"/>
            <a:ext cx="2181209" cy="1510068"/>
          </a:xfrm>
          <a:prstGeom prst="roundRect">
            <a:avLst>
              <a:gd name="adj" fmla="val 5304"/>
            </a:avLst>
          </a:prstGeom>
          <a:noFill/>
          <a:ln w="38100" cap="flat" cmpd="sng" algn="ctr">
            <a:solidFill>
              <a:schemeClr val="bg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FZSJ-YANGGNH" panose="02010600010101010101" pitchFamily="2" charset="-122"/>
              <a:ea typeface="FZSJ-YANGGNH" panose="02010600010101010101" pitchFamily="2" charset="-122"/>
            </a:endParaRPr>
          </a:p>
        </p:txBody>
      </p:sp>
      <p:sp>
        <p:nvSpPr>
          <p:cNvPr id="9" name="AutoShape 4"/>
          <p:cNvSpPr>
            <a:spLocks noChangeArrowheads="1"/>
          </p:cNvSpPr>
          <p:nvPr>
            <p:custDataLst>
              <p:tags r:id="rId2"/>
            </p:custDataLst>
          </p:nvPr>
        </p:nvSpPr>
        <p:spPr bwMode="white">
          <a:xfrm>
            <a:off x="3555787" y="1709754"/>
            <a:ext cx="2181209" cy="1510068"/>
          </a:xfrm>
          <a:prstGeom prst="roundRect">
            <a:avLst>
              <a:gd name="adj" fmla="val 7012"/>
            </a:avLst>
          </a:prstGeom>
          <a:noFill/>
          <a:ln w="38100" cap="flat" cmpd="sng" algn="ctr">
            <a:solidFill>
              <a:schemeClr val="tx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FZSJ-YANGGNH" panose="02010600010101010101" pitchFamily="2" charset="-122"/>
              <a:ea typeface="FZSJ-YANGGNH" panose="02010600010101010101" pitchFamily="2" charset="-122"/>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FZSJ-YANGGNH" panose="02010600010101010101" pitchFamily="2" charset="-122"/>
              <a:ea typeface="FZSJ-YANGGNH" panose="02010600010101010101" pitchFamily="2" charset="-122"/>
            </a:endParaRPr>
          </a:p>
        </p:txBody>
      </p:sp>
      <p:sp>
        <p:nvSpPr>
          <p:cNvPr id="11" name="TextBox 19"/>
          <p:cNvSpPr txBox="1"/>
          <p:nvPr/>
        </p:nvSpPr>
        <p:spPr bwMode="auto">
          <a:xfrm>
            <a:off x="3946966"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FZSJ-YANGGNH" panose="02010600010101010101" pitchFamily="2" charset="-122"/>
                <a:ea typeface="FZSJ-YANGGNH" panose="02010600010101010101" pitchFamily="2" charset="-122"/>
              </a:rPr>
              <a:t>标题文字</a:t>
            </a:r>
            <a:endParaRPr lang="zh-CN" altLang="en-US" sz="1600" b="1" dirty="0">
              <a:solidFill>
                <a:schemeClr val="accent2"/>
              </a:solidFill>
              <a:latin typeface="FZSJ-YANGGNH" panose="02010600010101010101" pitchFamily="2" charset="-122"/>
              <a:ea typeface="FZSJ-YANGGNH" panose="02010600010101010101" pitchFamily="2" charset="-122"/>
            </a:endParaRPr>
          </a:p>
        </p:txBody>
      </p:sp>
      <p:sp>
        <p:nvSpPr>
          <p:cNvPr id="12" name="AutoShape 3"/>
          <p:cNvSpPr>
            <a:spLocks noChangeArrowheads="1"/>
          </p:cNvSpPr>
          <p:nvPr/>
        </p:nvSpPr>
        <p:spPr bwMode="auto">
          <a:xfrm>
            <a:off x="1315717" y="1342709"/>
            <a:ext cx="1510068" cy="469799"/>
          </a:xfrm>
          <a:prstGeom prst="roundRect">
            <a:avLst/>
          </a:prstGeom>
          <a:solidFill>
            <a:schemeClr val="bg1"/>
          </a:solidFill>
          <a:ln w="25400" cap="flat" cmpd="sng" algn="ctr">
            <a:noFill/>
            <a:prstDash val="solid"/>
          </a:ln>
          <a:effectLst/>
        </p:spPr>
        <p:txBody>
          <a:bodyPr anchor="ctr">
            <a:sp3d/>
          </a:bodyPr>
          <a:lstStyle/>
          <a:p>
            <a:pPr algn="ctr" eaLnBrk="0" fontAlgn="ctr" hangingPunct="0">
              <a:buClr>
                <a:srgbClr val="FF0000"/>
              </a:buClr>
              <a:buSzPct val="70000"/>
              <a:buFont typeface="Wingdings" pitchFamily="2" charset="2"/>
              <a:buChar char="u"/>
              <a:defRPr/>
            </a:pPr>
            <a:endParaRPr lang="zh-CN" altLang="zh-CN" sz="1600" b="1" kern="0" dirty="0">
              <a:solidFill>
                <a:srgbClr val="FFFFFF"/>
              </a:solidFill>
              <a:latin typeface="FZSJ-YANGGNH" panose="02010600010101010101" pitchFamily="2" charset="-122"/>
              <a:ea typeface="FZSJ-YANGGNH" panose="02010600010101010101" pitchFamily="2" charset="-122"/>
            </a:endParaRPr>
          </a:p>
        </p:txBody>
      </p:sp>
      <p:sp>
        <p:nvSpPr>
          <p:cNvPr id="13" name="TextBox 21"/>
          <p:cNvSpPr txBox="1"/>
          <p:nvPr/>
        </p:nvSpPr>
        <p:spPr bwMode="auto">
          <a:xfrm>
            <a:off x="1419378" y="1408920"/>
            <a:ext cx="1286465"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FZSJ-YANGGNH" panose="02010600010101010101" pitchFamily="2" charset="-122"/>
                <a:ea typeface="FZSJ-YANGGNH" panose="02010600010101010101" pitchFamily="2" charset="-122"/>
              </a:rPr>
              <a:t>标题文字</a:t>
            </a:r>
            <a:endParaRPr lang="zh-CN" altLang="zh-CN" sz="1600" b="1" dirty="0">
              <a:solidFill>
                <a:schemeClr val="accent2"/>
              </a:solidFill>
              <a:latin typeface="FZSJ-YANGGNH" panose="02010600010101010101" pitchFamily="2" charset="-122"/>
              <a:ea typeface="FZSJ-YANGGNH" panose="02010600010101010101" pitchFamily="2" charset="-122"/>
            </a:endParaRPr>
          </a:p>
        </p:txBody>
      </p:sp>
      <p:sp>
        <p:nvSpPr>
          <p:cNvPr id="14" name="矩形 13"/>
          <p:cNvSpPr/>
          <p:nvPr/>
        </p:nvSpPr>
        <p:spPr>
          <a:xfrm>
            <a:off x="1033737"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15" name="矩形 14"/>
          <p:cNvSpPr/>
          <p:nvPr/>
        </p:nvSpPr>
        <p:spPr>
          <a:xfrm>
            <a:off x="1033737"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16" name="矩形 15"/>
          <p:cNvSpPr/>
          <p:nvPr/>
        </p:nvSpPr>
        <p:spPr>
          <a:xfrm>
            <a:off x="3584850"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17" name="矩形 16"/>
          <p:cNvSpPr/>
          <p:nvPr/>
        </p:nvSpPr>
        <p:spPr>
          <a:xfrm>
            <a:off x="3584850"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18" name="AutoShape 4"/>
          <p:cNvSpPr>
            <a:spLocks noChangeArrowheads="1"/>
          </p:cNvSpPr>
          <p:nvPr>
            <p:custDataLst>
              <p:tags r:id="rId3"/>
            </p:custDataLst>
          </p:nvPr>
        </p:nvSpPr>
        <p:spPr bwMode="white">
          <a:xfrm>
            <a:off x="6098942" y="1709754"/>
            <a:ext cx="2181209" cy="1510068"/>
          </a:xfrm>
          <a:prstGeom prst="roundRect">
            <a:avLst>
              <a:gd name="adj" fmla="val 7012"/>
            </a:avLst>
          </a:prstGeom>
          <a:noFill/>
          <a:ln w="38100" cap="flat" cmpd="sng" algn="ctr">
            <a:solidFill>
              <a:schemeClr val="bg2"/>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FZSJ-YANGGNH" panose="02010600010101010101" pitchFamily="2" charset="-122"/>
              <a:ea typeface="FZSJ-YANGGNH" panose="02010600010101010101" pitchFamily="2" charset="-122"/>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FZSJ-YANGGNH" panose="02010600010101010101" pitchFamily="2" charset="-122"/>
              <a:ea typeface="FZSJ-YANGGNH" panose="02010600010101010101" pitchFamily="2" charset="-122"/>
            </a:endParaRPr>
          </a:p>
        </p:txBody>
      </p:sp>
      <p:sp>
        <p:nvSpPr>
          <p:cNvPr id="20" name="TextBox 28"/>
          <p:cNvSpPr txBox="1"/>
          <p:nvPr/>
        </p:nvSpPr>
        <p:spPr bwMode="auto">
          <a:xfrm>
            <a:off x="6490121"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smtClean="0">
                <a:solidFill>
                  <a:schemeClr val="accent2"/>
                </a:solidFill>
                <a:latin typeface="FZSJ-YANGGNH" panose="02010600010101010101" pitchFamily="2" charset="-122"/>
                <a:ea typeface="FZSJ-YANGGNH" panose="02010600010101010101" pitchFamily="2" charset="-122"/>
              </a:rPr>
              <a:t>标题文字</a:t>
            </a:r>
            <a:endParaRPr lang="zh-CN" altLang="en-US" sz="1600" b="1" dirty="0">
              <a:solidFill>
                <a:schemeClr val="accent2"/>
              </a:solidFill>
              <a:latin typeface="FZSJ-YANGGNH" panose="02010600010101010101" pitchFamily="2" charset="-122"/>
              <a:ea typeface="FZSJ-YANGGNH" panose="02010600010101010101" pitchFamily="2" charset="-122"/>
            </a:endParaRPr>
          </a:p>
        </p:txBody>
      </p:sp>
      <p:sp>
        <p:nvSpPr>
          <p:cNvPr id="21" name="矩形 20"/>
          <p:cNvSpPr/>
          <p:nvPr/>
        </p:nvSpPr>
        <p:spPr>
          <a:xfrm>
            <a:off x="6128005"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22" name="矩形 21"/>
          <p:cNvSpPr/>
          <p:nvPr/>
        </p:nvSpPr>
        <p:spPr>
          <a:xfrm>
            <a:off x="6128005"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endParaRPr lang="en-US" altLang="zh-CN" sz="1200" b="1" spc="50" dirty="0">
              <a:ln w="11430"/>
              <a:solidFill>
                <a:schemeClr val="accent1"/>
              </a:solidFill>
              <a:latin typeface="FZSJ-YANGGNH" panose="02010600010101010101" pitchFamily="2" charset="-122"/>
              <a:ea typeface="FZSJ-YANGGNH" panose="02010600010101010101" pitchFamily="2"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FZSJ-YANGGNH" panose="02010600010101010101" pitchFamily="2" charset="-122"/>
                <a:ea typeface="FZSJ-YANGGNH" panose="02010600010101010101" pitchFamily="2" charset="-122"/>
              </a:rPr>
              <a:t>点击添加文本</a:t>
            </a:r>
          </a:p>
        </p:txBody>
      </p:sp>
      <p:sp>
        <p:nvSpPr>
          <p:cNvPr id="23" name="TextBox 37"/>
          <p:cNvSpPr txBox="1"/>
          <p:nvPr/>
        </p:nvSpPr>
        <p:spPr>
          <a:xfrm>
            <a:off x="1259632" y="3812458"/>
            <a:ext cx="6696744" cy="400110"/>
          </a:xfrm>
          <a:prstGeom prst="rect">
            <a:avLst/>
          </a:prstGeom>
          <a:noFill/>
        </p:spPr>
        <p:txBody>
          <a:bodyPr wrap="square" rtlCol="0">
            <a:spAutoFit/>
          </a:bodyPr>
          <a:lstStyle/>
          <a:p>
            <a:r>
              <a:rPr lang="zh-CN" altLang="en-US" sz="1000" b="1" spc="-10" dirty="0" smtClean="0">
                <a:solidFill>
                  <a:schemeClr val="accent1"/>
                </a:solidFill>
                <a:latin typeface="FZSJ-YANGGNH" panose="02010600010101010101" pitchFamily="2" charset="-122"/>
                <a:ea typeface="FZSJ-YANGGNH" panose="02010600010101010101" pitchFamily="2" charset="-122"/>
              </a:rPr>
              <a:t>请输入内容请输入文字内容请输入内容请输入文字内容请输入内容请输入文字内容请输入内容请输入文字内容请输入内容请输入文字内容请</a:t>
            </a:r>
            <a:r>
              <a:rPr lang="zh-CN" altLang="en-US" sz="1000" b="1" spc="-10" dirty="0">
                <a:solidFill>
                  <a:schemeClr val="accent1"/>
                </a:solidFill>
                <a:latin typeface="FZSJ-YANGGNH" panose="02010600010101010101" pitchFamily="2" charset="-122"/>
                <a:ea typeface="FZSJ-YANGGNH" panose="02010600010101010101" pitchFamily="2" charset="-122"/>
              </a:rPr>
              <a:t>输入内容请输入文字内容请输入内容请输入文字内容请输入内容</a:t>
            </a:r>
            <a:r>
              <a:rPr lang="zh-CN" altLang="en-US" sz="1000" b="1" spc="-10" dirty="0" smtClean="0">
                <a:solidFill>
                  <a:schemeClr val="accent1"/>
                </a:solidFill>
                <a:latin typeface="FZSJ-YANGGNH" panose="02010600010101010101" pitchFamily="2" charset="-122"/>
                <a:ea typeface="FZSJ-YANGGNH" panose="02010600010101010101" pitchFamily="2" charset="-122"/>
              </a:rPr>
              <a:t>请</a:t>
            </a:r>
          </a:p>
        </p:txBody>
      </p:sp>
      <p:sp>
        <p:nvSpPr>
          <p:cNvPr id="24" name="TextBox 38"/>
          <p:cNvSpPr txBox="1"/>
          <p:nvPr/>
        </p:nvSpPr>
        <p:spPr>
          <a:xfrm>
            <a:off x="3779065" y="3435846"/>
            <a:ext cx="2054567" cy="338554"/>
          </a:xfrm>
          <a:prstGeom prst="rect">
            <a:avLst/>
          </a:prstGeom>
          <a:noFill/>
        </p:spPr>
        <p:txBody>
          <a:bodyPr wrap="square" rtlCol="0">
            <a:spAutoFit/>
          </a:bodyPr>
          <a:lstStyle/>
          <a:p>
            <a:r>
              <a:rPr lang="zh-CN" altLang="en-US" sz="1600" b="1" spc="-10" dirty="0" smtClean="0">
                <a:latin typeface="FZSJ-YANGGNH" panose="02010600010101010101" pitchFamily="2" charset="-122"/>
                <a:ea typeface="FZSJ-YANGGNH" panose="02010600010101010101" pitchFamily="2" charset="-122"/>
              </a:rPr>
              <a:t>标题文字内容</a:t>
            </a:r>
          </a:p>
        </p:txBody>
      </p:sp>
    </p:spTree>
    <p:extLst>
      <p:ext uri="{BB962C8B-B14F-4D97-AF65-F5344CB8AC3E}">
        <p14:creationId xmlns:p14="http://schemas.microsoft.com/office/powerpoint/2010/main" val="27501157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900" decel="100000" fill="hold"/>
                                        <p:tgtEl>
                                          <p:spTgt spid="1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Bottom)">
                                      <p:cBhvr>
                                        <p:cTn id="14" dur="500"/>
                                        <p:tgtEl>
                                          <p:spTgt spid="13"/>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Top)">
                                      <p:cBhvr>
                                        <p:cTn id="18" dur="500"/>
                                        <p:tgtEl>
                                          <p:spTgt spid="8"/>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slide(fromBottom)">
                                      <p:cBhvr>
                                        <p:cTn id="22" dur="500"/>
                                        <p:tgtEl>
                                          <p:spTgt spid="14"/>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Bottom)">
                                      <p:cBhvr>
                                        <p:cTn id="26" dur="500"/>
                                        <p:tgtEl>
                                          <p:spTgt spid="15"/>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900" decel="100000" fill="hold"/>
                                        <p:tgtEl>
                                          <p:spTgt spid="10"/>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slide(fromBottom)">
                                      <p:cBhvr>
                                        <p:cTn id="37" dur="500"/>
                                        <p:tgtEl>
                                          <p:spTgt spid="11"/>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slide(fromTop)">
                                      <p:cBhvr>
                                        <p:cTn id="41" dur="500"/>
                                        <p:tgtEl>
                                          <p:spTgt spid="9"/>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slide(fromBottom)">
                                      <p:cBhvr>
                                        <p:cTn id="45" dur="500"/>
                                        <p:tgtEl>
                                          <p:spTgt spid="16"/>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lide(fromBottom)">
                                      <p:cBhvr>
                                        <p:cTn id="49" dur="500"/>
                                        <p:tgtEl>
                                          <p:spTgt spid="17"/>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900" decel="100000" fill="hold"/>
                                        <p:tgtEl>
                                          <p:spTgt spid="19"/>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slide(fromBottom)">
                                      <p:cBhvr>
                                        <p:cTn id="60" dur="500"/>
                                        <p:tgtEl>
                                          <p:spTgt spid="20"/>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lide(fromTop)">
                                      <p:cBhvr>
                                        <p:cTn id="64" dur="500"/>
                                        <p:tgtEl>
                                          <p:spTgt spid="18"/>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Bottom)">
                                      <p:cBhvr>
                                        <p:cTn id="68" dur="500"/>
                                        <p:tgtEl>
                                          <p:spTgt spid="21"/>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slide(fromBottom)">
                                      <p:cBhvr>
                                        <p:cTn id="72" dur="500"/>
                                        <p:tgtEl>
                                          <p:spTgt spid="22"/>
                                        </p:tgtEl>
                                      </p:cBhvr>
                                    </p:animEffec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anim calcmode="lin" valueType="num">
                                      <p:cBhvr>
                                        <p:cTn id="78" dur="500" fill="hold"/>
                                        <p:tgtEl>
                                          <p:spTgt spid="24"/>
                                        </p:tgtEl>
                                        <p:attrNameLst>
                                          <p:attrName>ppt_x</p:attrName>
                                        </p:attrNameLst>
                                      </p:cBhvr>
                                      <p:tavLst>
                                        <p:tav tm="0">
                                          <p:val>
                                            <p:strVal val="#ppt_x"/>
                                          </p:val>
                                        </p:tav>
                                        <p:tav tm="100000">
                                          <p:val>
                                            <p:strVal val="#ppt_x"/>
                                          </p:val>
                                        </p:tav>
                                      </p:tavLst>
                                    </p:anim>
                                    <p:anim calcmode="lin" valueType="num">
                                      <p:cBhvr>
                                        <p:cTn id="79" dur="500" fill="hold"/>
                                        <p:tgtEl>
                                          <p:spTgt spid="2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anim calcmode="lin" valueType="num">
                                      <p:cBhvr>
                                        <p:cTn id="83" dur="500" fill="hold"/>
                                        <p:tgtEl>
                                          <p:spTgt spid="23"/>
                                        </p:tgtEl>
                                        <p:attrNameLst>
                                          <p:attrName>ppt_x</p:attrName>
                                        </p:attrNameLst>
                                      </p:cBhvr>
                                      <p:tavLst>
                                        <p:tav tm="0">
                                          <p:val>
                                            <p:strVal val="#ppt_x"/>
                                          </p:val>
                                        </p:tav>
                                        <p:tav tm="100000">
                                          <p:val>
                                            <p:strVal val="#ppt_x"/>
                                          </p:val>
                                        </p:tav>
                                      </p:tavLst>
                                    </p:anim>
                                    <p:anim calcmode="lin" valueType="num">
                                      <p:cBhvr>
                                        <p:cTn id="84"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p:bldP spid="14" grpId="0"/>
      <p:bldP spid="15" grpId="0"/>
      <p:bldP spid="16" grpId="0"/>
      <p:bldP spid="17" grpId="0"/>
      <p:bldP spid="18" grpId="0" animBg="1"/>
      <p:bldP spid="19" grpId="0" animBg="1"/>
      <p:bldP spid="20" grpId="0"/>
      <p:bldP spid="21" grpId="0"/>
      <p:bldP spid="22" grpId="0"/>
      <p:bldP spid="23"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845221" y="1347614"/>
            <a:ext cx="5616624"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latin typeface="FZSJ-YANGGNH" panose="02010600010101010101" pitchFamily="2" charset="-122"/>
              <a:ea typeface="FZSJ-YANGGNH" panose="02010600010101010101" pitchFamily="2" charset="-122"/>
            </a:endParaRPr>
          </a:p>
        </p:txBody>
      </p:sp>
      <p:grpSp>
        <p:nvGrpSpPr>
          <p:cNvPr id="3" name="组合 2"/>
          <p:cNvGrpSpPr/>
          <p:nvPr/>
        </p:nvGrpSpPr>
        <p:grpSpPr>
          <a:xfrm>
            <a:off x="2177646" y="1406649"/>
            <a:ext cx="387655" cy="369332"/>
            <a:chOff x="2177646" y="1730685"/>
            <a:chExt cx="387655" cy="369332"/>
          </a:xfrm>
        </p:grpSpPr>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FZSJ-YANGGNH" panose="02010600010101010101" pitchFamily="2" charset="-122"/>
                <a:ea typeface="FZSJ-YANGGNH" panose="02010600010101010101" pitchFamily="2" charset="-122"/>
              </a:endParaRPr>
            </a:p>
          </p:txBody>
        </p:sp>
        <p:sp>
          <p:nvSpPr>
            <p:cNvPr id="6" name="TextBox 4"/>
            <p:cNvSpPr txBox="1"/>
            <p:nvPr/>
          </p:nvSpPr>
          <p:spPr>
            <a:xfrm>
              <a:off x="2177646" y="1757886"/>
              <a:ext cx="341760" cy="338554"/>
            </a:xfrm>
            <a:prstGeom prst="rect">
              <a:avLst/>
            </a:prstGeom>
            <a:noFill/>
          </p:spPr>
          <p:txBody>
            <a:bodyPr wrap="none" rtlCol="0">
              <a:spAutoFit/>
            </a:bodyPr>
            <a:lstStyle/>
            <a:p>
              <a:r>
                <a:rPr lang="en-US" altLang="zh-CN" sz="1600" dirty="0" smtClean="0">
                  <a:solidFill>
                    <a:srgbClr val="FFFFFF"/>
                  </a:solidFill>
                  <a:latin typeface="FZSJ-YANGGNH" panose="02010600010101010101" pitchFamily="2" charset="-122"/>
                  <a:ea typeface="FZSJ-YANGGNH" panose="02010600010101010101" pitchFamily="2" charset="-122"/>
                </a:rPr>
                <a:t>01</a:t>
              </a:r>
              <a:endParaRPr lang="zh-CN" altLang="en-US" sz="1100" dirty="0">
                <a:solidFill>
                  <a:srgbClr val="FFFFFF"/>
                </a:solidFill>
                <a:latin typeface="FZSJ-YANGGNH" panose="02010600010101010101" pitchFamily="2" charset="-122"/>
                <a:ea typeface="FZSJ-YANGGNH" panose="02010600010101010101" pitchFamily="2" charset="-122"/>
              </a:endParaRPr>
            </a:p>
          </p:txBody>
        </p:sp>
      </p:grpSp>
      <p:sp>
        <p:nvSpPr>
          <p:cNvPr id="7" name="圆角矩形 6"/>
          <p:cNvSpPr/>
          <p:nvPr/>
        </p:nvSpPr>
        <p:spPr>
          <a:xfrm>
            <a:off x="1845221" y="2044663"/>
            <a:ext cx="5616624"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latin typeface="FZSJ-YANGGNH" panose="02010600010101010101" pitchFamily="2" charset="-122"/>
              <a:ea typeface="FZSJ-YANGGNH" panose="02010600010101010101" pitchFamily="2" charset="-122"/>
            </a:endParaRPr>
          </a:p>
        </p:txBody>
      </p:sp>
      <p:grpSp>
        <p:nvGrpSpPr>
          <p:cNvPr id="8" name="组合 7"/>
          <p:cNvGrpSpPr/>
          <p:nvPr/>
        </p:nvGrpSpPr>
        <p:grpSpPr>
          <a:xfrm>
            <a:off x="2167226" y="2103698"/>
            <a:ext cx="1553999" cy="369332"/>
            <a:chOff x="2167226" y="1730685"/>
            <a:chExt cx="1553999" cy="369332"/>
          </a:xfrm>
        </p:grpSpPr>
        <p:sp>
          <p:nvSpPr>
            <p:cNvPr id="9" name="TextBox 4"/>
            <p:cNvSpPr txBox="1"/>
            <p:nvPr/>
          </p:nvSpPr>
          <p:spPr>
            <a:xfrm>
              <a:off x="2699792" y="1730685"/>
              <a:ext cx="1021433" cy="338554"/>
            </a:xfrm>
            <a:prstGeom prst="rect">
              <a:avLst/>
            </a:prstGeom>
            <a:noFill/>
          </p:spPr>
          <p:txBody>
            <a:bodyPr wrap="none" rtlCol="0">
              <a:spAutoFit/>
            </a:bodyPr>
            <a:lstStyle/>
            <a:p>
              <a:r>
                <a:rPr lang="ko-KR" altLang="en-US" sz="1600" dirty="0" smtClean="0">
                  <a:solidFill>
                    <a:schemeClr val="accent1"/>
                  </a:solidFill>
                  <a:latin typeface="FZSJ-YANGGNH" panose="02010600010101010101" pitchFamily="2" charset="-122"/>
                  <a:ea typeface="FZSJ-YANGGNH" panose="02010600010101010101" pitchFamily="2" charset="-122"/>
                </a:rPr>
                <a:t>역할 분담 </a:t>
              </a:r>
              <a:endParaRPr lang="zh-CN" altLang="en-US" sz="1100" dirty="0">
                <a:solidFill>
                  <a:schemeClr val="accent1"/>
                </a:solidFill>
                <a:latin typeface="FZSJ-YANGGNH" panose="02010600010101010101" pitchFamily="2" charset="-122"/>
                <a:ea typeface="FZSJ-YANGGNH" panose="02010600010101010101" pitchFamily="2" charset="-122"/>
              </a:endParaRP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FZSJ-YANGGNH" panose="02010600010101010101" pitchFamily="2" charset="-122"/>
                <a:ea typeface="FZSJ-YANGGNH" panose="02010600010101010101" pitchFamily="2" charset="-122"/>
              </a:endParaRPr>
            </a:p>
          </p:txBody>
        </p:sp>
        <p:sp>
          <p:nvSpPr>
            <p:cNvPr id="11" name="TextBox 4"/>
            <p:cNvSpPr txBox="1"/>
            <p:nvPr/>
          </p:nvSpPr>
          <p:spPr>
            <a:xfrm>
              <a:off x="2167226" y="1750528"/>
              <a:ext cx="378630" cy="338554"/>
            </a:xfrm>
            <a:prstGeom prst="rect">
              <a:avLst/>
            </a:prstGeom>
            <a:noFill/>
          </p:spPr>
          <p:txBody>
            <a:bodyPr wrap="none" rtlCol="0">
              <a:spAutoFit/>
            </a:bodyPr>
            <a:lstStyle/>
            <a:p>
              <a:r>
                <a:rPr lang="en-US" altLang="zh-CN" sz="1600" dirty="0" smtClean="0">
                  <a:solidFill>
                    <a:srgbClr val="FFFFFF"/>
                  </a:solidFill>
                  <a:latin typeface="FZSJ-YANGGNH" panose="02010600010101010101" pitchFamily="2" charset="-122"/>
                  <a:ea typeface="FZSJ-YANGGNH" panose="02010600010101010101" pitchFamily="2" charset="-122"/>
                </a:rPr>
                <a:t>02</a:t>
              </a:r>
              <a:endParaRPr lang="zh-CN" altLang="en-US" sz="1100" dirty="0">
                <a:solidFill>
                  <a:srgbClr val="FFFFFF"/>
                </a:solidFill>
                <a:latin typeface="FZSJ-YANGGNH" panose="02010600010101010101" pitchFamily="2" charset="-122"/>
                <a:ea typeface="FZSJ-YANGGNH" panose="02010600010101010101" pitchFamily="2" charset="-122"/>
              </a:endParaRPr>
            </a:p>
          </p:txBody>
        </p:sp>
      </p:grpSp>
      <p:sp>
        <p:nvSpPr>
          <p:cNvPr id="12" name="圆角矩形 11"/>
          <p:cNvSpPr/>
          <p:nvPr/>
        </p:nvSpPr>
        <p:spPr>
          <a:xfrm>
            <a:off x="1845221" y="2735806"/>
            <a:ext cx="5616624"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latin typeface="FZSJ-YANGGNH" panose="02010600010101010101" pitchFamily="2" charset="-122"/>
              <a:ea typeface="FZSJ-YANGGNH" panose="02010600010101010101" pitchFamily="2" charset="-122"/>
            </a:endParaRPr>
          </a:p>
        </p:txBody>
      </p:sp>
      <p:grpSp>
        <p:nvGrpSpPr>
          <p:cNvPr id="13" name="组合 12"/>
          <p:cNvGrpSpPr/>
          <p:nvPr/>
        </p:nvGrpSpPr>
        <p:grpSpPr>
          <a:xfrm>
            <a:off x="2167226" y="2794841"/>
            <a:ext cx="3621894" cy="369332"/>
            <a:chOff x="2167226" y="1730685"/>
            <a:chExt cx="3621894" cy="369332"/>
          </a:xfrm>
        </p:grpSpPr>
        <p:sp>
          <p:nvSpPr>
            <p:cNvPr id="14" name="TextBox 4"/>
            <p:cNvSpPr txBox="1"/>
            <p:nvPr/>
          </p:nvSpPr>
          <p:spPr>
            <a:xfrm>
              <a:off x="2595617" y="1730685"/>
              <a:ext cx="3193503" cy="338554"/>
            </a:xfrm>
            <a:prstGeom prst="rect">
              <a:avLst/>
            </a:prstGeom>
            <a:noFill/>
          </p:spPr>
          <p:txBody>
            <a:bodyPr wrap="none" rtlCol="0">
              <a:spAutoFit/>
            </a:bodyPr>
            <a:lstStyle/>
            <a:p>
              <a:r>
                <a:rPr lang="zh-CN" altLang="en-US" sz="1600" dirty="0" smtClean="0">
                  <a:solidFill>
                    <a:schemeClr val="accent1"/>
                  </a:solidFill>
                  <a:latin typeface="FZSJ-YANGGNH" panose="02010600010101010101" pitchFamily="2" charset="-122"/>
                  <a:ea typeface="FZSJ-YANGGNH" panose="02010600010101010101" pitchFamily="2" charset="-122"/>
                </a:rPr>
                <a:t>添加目录三标题 </a:t>
              </a:r>
              <a:r>
                <a:rPr lang="en-US" altLang="zh-CN" sz="1100" dirty="0" smtClean="0">
                  <a:solidFill>
                    <a:schemeClr val="accent1"/>
                  </a:solidFill>
                  <a:latin typeface="FZSJ-YANGGNH" panose="02010600010101010101" pitchFamily="2" charset="-122"/>
                  <a:ea typeface="FZSJ-YANGGNH" panose="02010600010101010101" pitchFamily="2" charset="-122"/>
                </a:rPr>
                <a:t>ADD DIRECTORY ONE TITLES</a:t>
              </a:r>
              <a:endParaRPr lang="zh-CN" altLang="en-US" sz="1100" dirty="0">
                <a:solidFill>
                  <a:schemeClr val="accent1"/>
                </a:solidFill>
                <a:latin typeface="FZSJ-YANGGNH" panose="02010600010101010101" pitchFamily="2" charset="-122"/>
                <a:ea typeface="FZSJ-YANGGNH" panose="02010600010101010101" pitchFamily="2" charset="-122"/>
              </a:endParaRP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FZSJ-YANGGNH" panose="02010600010101010101" pitchFamily="2" charset="-122"/>
                <a:ea typeface="FZSJ-YANGGNH" panose="02010600010101010101" pitchFamily="2" charset="-122"/>
              </a:endParaRPr>
            </a:p>
          </p:txBody>
        </p:sp>
        <p:sp>
          <p:nvSpPr>
            <p:cNvPr id="16" name="TextBox 4"/>
            <p:cNvSpPr txBox="1"/>
            <p:nvPr/>
          </p:nvSpPr>
          <p:spPr>
            <a:xfrm>
              <a:off x="2167226" y="1750528"/>
              <a:ext cx="362600" cy="338554"/>
            </a:xfrm>
            <a:prstGeom prst="rect">
              <a:avLst/>
            </a:prstGeom>
            <a:noFill/>
          </p:spPr>
          <p:txBody>
            <a:bodyPr wrap="none" rtlCol="0">
              <a:spAutoFit/>
            </a:bodyPr>
            <a:lstStyle/>
            <a:p>
              <a:r>
                <a:rPr lang="en-US" altLang="zh-CN" sz="1600" dirty="0" smtClean="0">
                  <a:solidFill>
                    <a:srgbClr val="FFFFFF"/>
                  </a:solidFill>
                  <a:latin typeface="FZSJ-YANGGNH" panose="02010600010101010101" pitchFamily="2" charset="-122"/>
                  <a:ea typeface="FZSJ-YANGGNH" panose="02010600010101010101" pitchFamily="2" charset="-122"/>
                </a:rPr>
                <a:t>03</a:t>
              </a:r>
              <a:endParaRPr lang="zh-CN" altLang="en-US" sz="1100" dirty="0">
                <a:solidFill>
                  <a:srgbClr val="FFFFFF"/>
                </a:solidFill>
                <a:latin typeface="FZSJ-YANGGNH" panose="02010600010101010101" pitchFamily="2" charset="-122"/>
                <a:ea typeface="FZSJ-YANGGNH" panose="02010600010101010101" pitchFamily="2" charset="-122"/>
              </a:endParaRPr>
            </a:p>
          </p:txBody>
        </p:sp>
      </p:grpSp>
      <p:sp>
        <p:nvSpPr>
          <p:cNvPr id="17" name="圆角矩形 16"/>
          <p:cNvSpPr/>
          <p:nvPr/>
        </p:nvSpPr>
        <p:spPr>
          <a:xfrm>
            <a:off x="1845221" y="3417526"/>
            <a:ext cx="5616624" cy="468052"/>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latin typeface="FZSJ-YANGGNH" panose="02010600010101010101" pitchFamily="2" charset="-122"/>
              <a:ea typeface="FZSJ-YANGGNH" panose="02010600010101010101" pitchFamily="2" charset="-122"/>
            </a:endParaRPr>
          </a:p>
        </p:txBody>
      </p:sp>
      <p:grpSp>
        <p:nvGrpSpPr>
          <p:cNvPr id="18" name="组合 17"/>
          <p:cNvGrpSpPr/>
          <p:nvPr/>
        </p:nvGrpSpPr>
        <p:grpSpPr>
          <a:xfrm>
            <a:off x="2167226" y="3476561"/>
            <a:ext cx="3621894" cy="369332"/>
            <a:chOff x="2167226" y="1730685"/>
            <a:chExt cx="3621894" cy="369332"/>
          </a:xfrm>
        </p:grpSpPr>
        <p:sp>
          <p:nvSpPr>
            <p:cNvPr id="19" name="TextBox 4"/>
            <p:cNvSpPr txBox="1"/>
            <p:nvPr/>
          </p:nvSpPr>
          <p:spPr>
            <a:xfrm>
              <a:off x="2595617" y="1730685"/>
              <a:ext cx="3193503" cy="338554"/>
            </a:xfrm>
            <a:prstGeom prst="rect">
              <a:avLst/>
            </a:prstGeom>
            <a:noFill/>
          </p:spPr>
          <p:txBody>
            <a:bodyPr wrap="none" rtlCol="0">
              <a:spAutoFit/>
            </a:bodyPr>
            <a:lstStyle/>
            <a:p>
              <a:r>
                <a:rPr lang="zh-CN" altLang="en-US" sz="1600" dirty="0" smtClean="0">
                  <a:solidFill>
                    <a:schemeClr val="accent1"/>
                  </a:solidFill>
                  <a:latin typeface="FZSJ-YANGGNH" panose="02010600010101010101" pitchFamily="2" charset="-122"/>
                  <a:ea typeface="FZSJ-YANGGNH" panose="02010600010101010101" pitchFamily="2" charset="-122"/>
                </a:rPr>
                <a:t>添加目录四标题 </a:t>
              </a:r>
              <a:r>
                <a:rPr lang="en-US" altLang="zh-CN" sz="1100" dirty="0" smtClean="0">
                  <a:solidFill>
                    <a:schemeClr val="accent1"/>
                  </a:solidFill>
                  <a:latin typeface="FZSJ-YANGGNH" panose="02010600010101010101" pitchFamily="2" charset="-122"/>
                  <a:ea typeface="FZSJ-YANGGNH" panose="02010600010101010101" pitchFamily="2" charset="-122"/>
                </a:rPr>
                <a:t>ADD DIRECTORY ONE TITLES</a:t>
              </a:r>
              <a:endParaRPr lang="zh-CN" altLang="en-US" sz="1100" dirty="0">
                <a:solidFill>
                  <a:schemeClr val="accent1"/>
                </a:solidFill>
                <a:latin typeface="FZSJ-YANGGNH" panose="02010600010101010101" pitchFamily="2" charset="-122"/>
                <a:ea typeface="FZSJ-YANGGNH" panose="02010600010101010101" pitchFamily="2" charset="-122"/>
              </a:endParaRPr>
            </a:p>
          </p:txBody>
        </p:sp>
        <p:sp>
          <p:nvSpPr>
            <p:cNvPr id="20" name="椭圆 19"/>
            <p:cNvSpPr/>
            <p:nvPr/>
          </p:nvSpPr>
          <p:spPr>
            <a:xfrm>
              <a:off x="2195969" y="1730685"/>
              <a:ext cx="369332" cy="36933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FZSJ-YANGGNH" panose="02010600010101010101" pitchFamily="2" charset="-122"/>
                <a:ea typeface="FZSJ-YANGGNH" panose="02010600010101010101" pitchFamily="2" charset="-122"/>
              </a:endParaRPr>
            </a:p>
          </p:txBody>
        </p:sp>
        <p:sp>
          <p:nvSpPr>
            <p:cNvPr id="21" name="TextBox 4"/>
            <p:cNvSpPr txBox="1"/>
            <p:nvPr/>
          </p:nvSpPr>
          <p:spPr>
            <a:xfrm>
              <a:off x="2167226" y="1750528"/>
              <a:ext cx="375424" cy="338554"/>
            </a:xfrm>
            <a:prstGeom prst="rect">
              <a:avLst/>
            </a:prstGeom>
            <a:noFill/>
          </p:spPr>
          <p:txBody>
            <a:bodyPr wrap="none" rtlCol="0">
              <a:spAutoFit/>
            </a:bodyPr>
            <a:lstStyle/>
            <a:p>
              <a:r>
                <a:rPr lang="en-US" altLang="zh-CN" sz="1600" dirty="0" smtClean="0">
                  <a:solidFill>
                    <a:srgbClr val="FFFFFF"/>
                  </a:solidFill>
                  <a:latin typeface="FZSJ-YANGGNH" panose="02010600010101010101" pitchFamily="2" charset="-122"/>
                  <a:ea typeface="FZSJ-YANGGNH" panose="02010600010101010101" pitchFamily="2" charset="-122"/>
                </a:rPr>
                <a:t>04</a:t>
              </a:r>
              <a:endParaRPr lang="zh-CN" altLang="en-US" sz="1100" dirty="0">
                <a:solidFill>
                  <a:srgbClr val="FFFFFF"/>
                </a:solidFill>
                <a:latin typeface="FZSJ-YANGGNH" panose="02010600010101010101" pitchFamily="2" charset="-122"/>
                <a:ea typeface="FZSJ-YANGGNH" panose="02010600010101010101" pitchFamily="2" charset="-122"/>
              </a:endParaRPr>
            </a:p>
          </p:txBody>
        </p:sp>
      </p:grpSp>
      <p:sp>
        <p:nvSpPr>
          <p:cNvPr id="22" name="Text Placeholder 8"/>
          <p:cNvSpPr txBox="1">
            <a:spLocks/>
          </p:cNvSpPr>
          <p:nvPr/>
        </p:nvSpPr>
        <p:spPr>
          <a:xfrm>
            <a:off x="4933014" y="49755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en-US" altLang="zh-CN" sz="2800" dirty="0" smtClean="0">
                <a:solidFill>
                  <a:schemeClr val="bg1"/>
                </a:solidFill>
                <a:latin typeface="FZSJ-YANGGNH" panose="02010600010101010101" pitchFamily="2" charset="-122"/>
                <a:ea typeface="FZSJ-YANGGNH" panose="02010600010101010101" pitchFamily="2" charset="-122"/>
              </a:rPr>
              <a:t>Contents</a:t>
            </a:r>
            <a:endParaRPr lang="en-US" altLang="zh-CN" sz="2800" dirty="0">
              <a:solidFill>
                <a:schemeClr val="bg1"/>
              </a:solidFill>
              <a:latin typeface="FZSJ-YANGGNH" panose="02010600010101010101" pitchFamily="2" charset="-122"/>
              <a:ea typeface="FZSJ-YANGGNH" panose="02010600010101010101" pitchFamily="2" charset="-122"/>
            </a:endParaRPr>
          </a:p>
        </p:txBody>
      </p:sp>
      <p:cxnSp>
        <p:nvCxnSpPr>
          <p:cNvPr id="24"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67601">
            <a:off x="6457926" y="3645216"/>
            <a:ext cx="2481838" cy="2481838"/>
          </a:xfrm>
          <a:prstGeom prst="rect">
            <a:avLst/>
          </a:prstGeom>
        </p:spPr>
      </p:pic>
      <p:sp>
        <p:nvSpPr>
          <p:cNvPr id="27" name="TextBox 4"/>
          <p:cNvSpPr txBox="1"/>
          <p:nvPr/>
        </p:nvSpPr>
        <p:spPr>
          <a:xfrm>
            <a:off x="2699792" y="1422038"/>
            <a:ext cx="1021433" cy="338554"/>
          </a:xfrm>
          <a:prstGeom prst="rect">
            <a:avLst/>
          </a:prstGeom>
          <a:noFill/>
        </p:spPr>
        <p:txBody>
          <a:bodyPr wrap="none" rtlCol="0">
            <a:spAutoFit/>
          </a:bodyPr>
          <a:lstStyle/>
          <a:p>
            <a:r>
              <a:rPr lang="ko-KR" altLang="en-US" sz="1600" dirty="0" smtClean="0">
                <a:solidFill>
                  <a:schemeClr val="accent1"/>
                </a:solidFill>
                <a:latin typeface="FZSJ-YANGGNH" panose="02010600010101010101" pitchFamily="2" charset="-122"/>
                <a:ea typeface="FZSJ-YANGGNH" panose="02010600010101010101" pitchFamily="2" charset="-122"/>
              </a:rPr>
              <a:t>게임 설명</a:t>
            </a:r>
            <a:r>
              <a:rPr lang="zh-CN" altLang="en-US" sz="1600" dirty="0" smtClean="0">
                <a:solidFill>
                  <a:schemeClr val="accent1"/>
                </a:solidFill>
                <a:latin typeface="FZSJ-YANGGNH" panose="02010600010101010101" pitchFamily="2" charset="-122"/>
                <a:ea typeface="FZSJ-YANGGNH" panose="02010600010101010101" pitchFamily="2" charset="-122"/>
              </a:rPr>
              <a:t> </a:t>
            </a:r>
            <a:endParaRPr lang="zh-CN" altLang="en-US" sz="1100" dirty="0">
              <a:solidFill>
                <a:schemeClr val="accent1"/>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1027405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2"/>
                                        </p:tgtEl>
                                      </p:cBhvr>
                                    </p:animEffect>
                                    <p:animScale>
                                      <p:cBhvr>
                                        <p:cTn id="11" dur="250" autoRev="1" fill="hold"/>
                                        <p:tgtEl>
                                          <p:spTgt spid="2"/>
                                        </p:tgtEl>
                                      </p:cBhvr>
                                      <p:by x="105000" y="105000"/>
                                    </p:animScale>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par>
                          <p:cTn id="20" fill="hold">
                            <p:stCondLst>
                              <p:cond delay="2000"/>
                            </p:stCondLst>
                            <p:childTnLst>
                              <p:par>
                                <p:cTn id="21" presetID="26" presetClass="emph" presetSubtype="0" fill="hold" grpId="1" nodeType="afterEffect">
                                  <p:stCondLst>
                                    <p:cond delay="0"/>
                                  </p:stCondLst>
                                  <p:childTnLst>
                                    <p:animEffect transition="out" filter="fade">
                                      <p:cBhvr>
                                        <p:cTn id="22" dur="500" tmFilter="0, 0; .2, .5; .8, .5; 1, 0"/>
                                        <p:tgtEl>
                                          <p:spTgt spid="7"/>
                                        </p:tgtEl>
                                      </p:cBhvr>
                                    </p:animEffect>
                                    <p:animScale>
                                      <p:cBhvr>
                                        <p:cTn id="23" dur="250" autoRev="1" fill="hold"/>
                                        <p:tgtEl>
                                          <p:spTgt spid="7"/>
                                        </p:tgtEl>
                                      </p:cBhvr>
                                      <p:by x="105000" y="105000"/>
                                    </p:animScale>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outVertical)">
                                      <p:cBhvr>
                                        <p:cTn id="31" dur="500"/>
                                        <p:tgtEl>
                                          <p:spTgt spid="12"/>
                                        </p:tgtEl>
                                      </p:cBhvr>
                                    </p:animEffect>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4500"/>
                            </p:stCondLst>
                            <p:childTnLst>
                              <p:par>
                                <p:cTn id="41" presetID="16" presetClass="entr" presetSubtype="37"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barn(outVertical)">
                                      <p:cBhvr>
                                        <p:cTn id="43" dur="500"/>
                                        <p:tgtEl>
                                          <p:spTgt spid="17"/>
                                        </p:tgtEl>
                                      </p:cBhvr>
                                    </p:animEffect>
                                  </p:childTnLst>
                                </p:cTn>
                              </p:par>
                            </p:childTnLst>
                          </p:cTn>
                        </p:par>
                        <p:par>
                          <p:cTn id="44" fill="hold">
                            <p:stCondLst>
                              <p:cond delay="5000"/>
                            </p:stCondLst>
                            <p:childTnLst>
                              <p:par>
                                <p:cTn id="45" presetID="26" presetClass="emph" presetSubtype="0" fill="hold" grpId="1" nodeType="afterEffect">
                                  <p:stCondLst>
                                    <p:cond delay="0"/>
                                  </p:stCondLst>
                                  <p:childTnLst>
                                    <p:animEffect transition="out" filter="fade">
                                      <p:cBhvr>
                                        <p:cTn id="46" dur="500" tmFilter="0, 0; .2, .5; .8, .5; 1, 0"/>
                                        <p:tgtEl>
                                          <p:spTgt spid="17"/>
                                        </p:tgtEl>
                                      </p:cBhvr>
                                    </p:animEffect>
                                    <p:animScale>
                                      <p:cBhvr>
                                        <p:cTn id="47" dur="250" autoRev="1" fill="hold"/>
                                        <p:tgtEl>
                                          <p:spTgt spid="17"/>
                                        </p:tgtEl>
                                      </p:cBhvr>
                                      <p:by x="105000" y="105000"/>
                                    </p:animScale>
                                  </p:childTnLst>
                                </p:cTn>
                              </p:par>
                            </p:childTnLst>
                          </p:cTn>
                        </p:par>
                        <p:par>
                          <p:cTn id="48" fill="hold">
                            <p:stCondLst>
                              <p:cond delay="5500"/>
                            </p:stCondLst>
                            <p:childTnLst>
                              <p:par>
                                <p:cTn id="49" presetID="22" presetClass="entr" presetSubtype="8" fill="hold"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anim calcmode="lin" valueType="num">
                                      <p:cBhvr>
                                        <p:cTn id="57" dur="1000" fill="hold"/>
                                        <p:tgtEl>
                                          <p:spTgt spid="25"/>
                                        </p:tgtEl>
                                        <p:attrNameLst>
                                          <p:attrName>ppt_x</p:attrName>
                                        </p:attrNameLst>
                                      </p:cBhvr>
                                      <p:tavLst>
                                        <p:tav tm="0">
                                          <p:val>
                                            <p:strVal val="#ppt_x"/>
                                          </p:val>
                                        </p:tav>
                                        <p:tav tm="100000">
                                          <p:val>
                                            <p:strVal val="#ppt_x"/>
                                          </p:val>
                                        </p:tav>
                                      </p:tavLst>
                                    </p:anim>
                                    <p:anim calcmode="lin" valueType="num">
                                      <p:cBhvr>
                                        <p:cTn id="5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anim calcmode="lin" valueType="num">
                                      <p:cBhvr>
                                        <p:cTn id="64" dur="1000" fill="hold"/>
                                        <p:tgtEl>
                                          <p:spTgt spid="26"/>
                                        </p:tgtEl>
                                        <p:attrNameLst>
                                          <p:attrName>ppt_x</p:attrName>
                                        </p:attrNameLst>
                                      </p:cBhvr>
                                      <p:tavLst>
                                        <p:tav tm="0">
                                          <p:val>
                                            <p:strVal val="#ppt_x"/>
                                          </p:val>
                                        </p:tav>
                                        <p:tav tm="100000">
                                          <p:val>
                                            <p:strVal val="#ppt_x"/>
                                          </p:val>
                                        </p:tav>
                                      </p:tavLst>
                                    </p:anim>
                                    <p:anim calcmode="lin" valueType="num">
                                      <p:cBhvr>
                                        <p:cTn id="65"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12" grpId="0" animBg="1"/>
      <p:bldP spid="12" grpId="1" animBg="1"/>
      <p:bldP spid="17" grpId="0" animBg="1"/>
      <p:bldP spid="17"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387370" y="1717179"/>
            <a:ext cx="298760" cy="858257"/>
            <a:chOff x="7148948" y="2531570"/>
            <a:chExt cx="398347" cy="1144342"/>
          </a:xfrm>
        </p:grpSpPr>
        <p:cxnSp>
          <p:nvCxnSpPr>
            <p:cNvPr id="9" name="直接连接符 8"/>
            <p:cNvCxnSpPr/>
            <p:nvPr/>
          </p:nvCxnSpPr>
          <p:spPr>
            <a:xfrm flipH="1">
              <a:off x="7354129" y="2913430"/>
              <a:ext cx="1" cy="762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7148948" y="2531570"/>
              <a:ext cx="398347" cy="492442"/>
              <a:chOff x="7148948" y="2531570"/>
              <a:chExt cx="398347" cy="492442"/>
            </a:xfrm>
          </p:grpSpPr>
          <p:sp>
            <p:nvSpPr>
              <p:cNvPr id="11" name="椭圆 10"/>
              <p:cNvSpPr/>
              <p:nvPr/>
            </p:nvSpPr>
            <p:spPr>
              <a:xfrm>
                <a:off x="7159500" y="2576506"/>
                <a:ext cx="387795" cy="387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12" name="文本框 44"/>
              <p:cNvSpPr txBox="1"/>
              <p:nvPr/>
            </p:nvSpPr>
            <p:spPr>
              <a:xfrm>
                <a:off x="7148948" y="2531570"/>
                <a:ext cx="374461" cy="492442"/>
              </a:xfrm>
              <a:prstGeom prst="rect">
                <a:avLst/>
              </a:prstGeom>
              <a:noFill/>
            </p:spPr>
            <p:txBody>
              <a:bodyPr wrap="none" rtlCol="0">
                <a:spAutoFit/>
              </a:bodyPr>
              <a:lstStyle/>
              <a:p>
                <a:r>
                  <a:rPr lang="en-US" altLang="zh-CN" dirty="0">
                    <a:solidFill>
                      <a:schemeClr val="accent2"/>
                    </a:solidFill>
                    <a:latin typeface="FZSJ-YANGGNH" panose="02010600010101010101" pitchFamily="2" charset="-122"/>
                    <a:ea typeface="FZSJ-YANGGNH" panose="02010600010101010101" pitchFamily="2" charset="-122"/>
                  </a:rPr>
                  <a:t>3</a:t>
                </a:r>
                <a:endParaRPr lang="zh-CN" altLang="en-US" dirty="0">
                  <a:solidFill>
                    <a:schemeClr val="accent2"/>
                  </a:solidFill>
                  <a:latin typeface="FZSJ-YANGGNH" panose="02010600010101010101" pitchFamily="2" charset="-122"/>
                  <a:ea typeface="FZSJ-YANGGNH" panose="02010600010101010101" pitchFamily="2" charset="-122"/>
                </a:endParaRPr>
              </a:p>
            </p:txBody>
          </p:sp>
        </p:grpSp>
      </p:grpSp>
      <p:grpSp>
        <p:nvGrpSpPr>
          <p:cNvPr id="13" name="组合 12"/>
          <p:cNvGrpSpPr/>
          <p:nvPr/>
        </p:nvGrpSpPr>
        <p:grpSpPr>
          <a:xfrm>
            <a:off x="3433645" y="3100589"/>
            <a:ext cx="296876" cy="866695"/>
            <a:chOff x="4630439" y="3891279"/>
            <a:chExt cx="395833" cy="1155593"/>
          </a:xfrm>
        </p:grpSpPr>
        <p:cxnSp>
          <p:nvCxnSpPr>
            <p:cNvPr id="14" name="直接连接符 13"/>
            <p:cNvCxnSpPr/>
            <p:nvPr/>
          </p:nvCxnSpPr>
          <p:spPr>
            <a:xfrm flipV="1">
              <a:off x="4832837" y="3891279"/>
              <a:ext cx="0" cy="762730"/>
            </a:xfrm>
            <a:prstGeom prst="line">
              <a:avLst/>
            </a:prstGeom>
            <a:solidFill>
              <a:srgbClr val="375BA5"/>
            </a:solidFill>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630439" y="4554429"/>
              <a:ext cx="395833" cy="492443"/>
              <a:chOff x="4630439" y="4554429"/>
              <a:chExt cx="395833" cy="492443"/>
            </a:xfrm>
          </p:grpSpPr>
          <p:sp>
            <p:nvSpPr>
              <p:cNvPr id="16" name="椭圆 15"/>
              <p:cNvSpPr/>
              <p:nvPr/>
            </p:nvSpPr>
            <p:spPr>
              <a:xfrm flipV="1">
                <a:off x="4638208" y="4603137"/>
                <a:ext cx="387795" cy="387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17" name="文本框 43"/>
              <p:cNvSpPr txBox="1"/>
              <p:nvPr/>
            </p:nvSpPr>
            <p:spPr>
              <a:xfrm>
                <a:off x="4630439" y="4554429"/>
                <a:ext cx="395833" cy="492443"/>
              </a:xfrm>
              <a:prstGeom prst="rect">
                <a:avLst/>
              </a:prstGeom>
              <a:noFill/>
            </p:spPr>
            <p:txBody>
              <a:bodyPr wrap="none" rtlCol="0">
                <a:spAutoFit/>
              </a:bodyPr>
              <a:lstStyle/>
              <a:p>
                <a:r>
                  <a:rPr lang="en-US" altLang="zh-CN" dirty="0">
                    <a:solidFill>
                      <a:srgbClr val="E2E9F6"/>
                    </a:solidFill>
                    <a:latin typeface="FZSJ-YANGGNH" panose="02010600010101010101" pitchFamily="2" charset="-122"/>
                    <a:ea typeface="FZSJ-YANGGNH" panose="02010600010101010101" pitchFamily="2" charset="-122"/>
                  </a:rPr>
                  <a:t>2</a:t>
                </a:r>
                <a:endParaRPr lang="zh-CN" altLang="en-US" dirty="0">
                  <a:solidFill>
                    <a:srgbClr val="E2E9F6"/>
                  </a:solidFill>
                  <a:latin typeface="FZSJ-YANGGNH" panose="02010600010101010101" pitchFamily="2" charset="-122"/>
                  <a:ea typeface="FZSJ-YANGGNH" panose="02010600010101010101" pitchFamily="2" charset="-122"/>
                </a:endParaRPr>
              </a:p>
            </p:txBody>
          </p:sp>
        </p:grpSp>
      </p:grpSp>
      <p:grpSp>
        <p:nvGrpSpPr>
          <p:cNvPr id="18" name="组合 17"/>
          <p:cNvGrpSpPr/>
          <p:nvPr/>
        </p:nvGrpSpPr>
        <p:grpSpPr>
          <a:xfrm>
            <a:off x="1462478" y="1698442"/>
            <a:ext cx="311511" cy="876991"/>
            <a:chOff x="2098242" y="2506590"/>
            <a:chExt cx="415348" cy="1169322"/>
          </a:xfrm>
        </p:grpSpPr>
        <p:cxnSp>
          <p:nvCxnSpPr>
            <p:cNvPr id="19" name="直接连接符 18"/>
            <p:cNvCxnSpPr/>
            <p:nvPr/>
          </p:nvCxnSpPr>
          <p:spPr>
            <a:xfrm flipH="1">
              <a:off x="2320424" y="2913430"/>
              <a:ext cx="1" cy="7624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2098242" y="2506590"/>
              <a:ext cx="415348" cy="492443"/>
              <a:chOff x="2098242" y="2506590"/>
              <a:chExt cx="415348" cy="492443"/>
            </a:xfrm>
          </p:grpSpPr>
          <p:sp>
            <p:nvSpPr>
              <p:cNvPr id="21" name="椭圆 20"/>
              <p:cNvSpPr/>
              <p:nvPr/>
            </p:nvSpPr>
            <p:spPr>
              <a:xfrm>
                <a:off x="2125795" y="2576506"/>
                <a:ext cx="387795" cy="387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22" name="文本框 42"/>
              <p:cNvSpPr txBox="1"/>
              <p:nvPr/>
            </p:nvSpPr>
            <p:spPr>
              <a:xfrm>
                <a:off x="2098242" y="2506590"/>
                <a:ext cx="340264" cy="492443"/>
              </a:xfrm>
              <a:prstGeom prst="rect">
                <a:avLst/>
              </a:prstGeom>
              <a:noFill/>
            </p:spPr>
            <p:txBody>
              <a:bodyPr wrap="none" rtlCol="0">
                <a:spAutoFit/>
              </a:bodyPr>
              <a:lstStyle/>
              <a:p>
                <a:r>
                  <a:rPr lang="en-US" altLang="zh-CN" dirty="0">
                    <a:solidFill>
                      <a:schemeClr val="accent2"/>
                    </a:solidFill>
                    <a:latin typeface="FZSJ-YANGGNH" panose="02010600010101010101" pitchFamily="2" charset="-122"/>
                    <a:ea typeface="FZSJ-YANGGNH" panose="02010600010101010101" pitchFamily="2" charset="-122"/>
                  </a:rPr>
                  <a:t>1</a:t>
                </a:r>
                <a:endParaRPr lang="zh-CN" altLang="en-US" dirty="0">
                  <a:solidFill>
                    <a:schemeClr val="accent2"/>
                  </a:solidFill>
                  <a:latin typeface="FZSJ-YANGGNH" panose="02010600010101010101" pitchFamily="2" charset="-122"/>
                  <a:ea typeface="FZSJ-YANGGNH" panose="02010600010101010101" pitchFamily="2" charset="-122"/>
                </a:endParaRPr>
              </a:p>
            </p:txBody>
          </p:sp>
        </p:grpSp>
      </p:grpSp>
      <p:sp>
        <p:nvSpPr>
          <p:cNvPr id="23" name="矩形 22"/>
          <p:cNvSpPr/>
          <p:nvPr/>
        </p:nvSpPr>
        <p:spPr>
          <a:xfrm>
            <a:off x="683568" y="4365662"/>
            <a:ext cx="1890001" cy="4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24" name="矩形 23"/>
          <p:cNvSpPr/>
          <p:nvPr/>
        </p:nvSpPr>
        <p:spPr>
          <a:xfrm flipV="1">
            <a:off x="2639886" y="1269416"/>
            <a:ext cx="1890001" cy="40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25" name="矩形 24"/>
          <p:cNvSpPr/>
          <p:nvPr/>
        </p:nvSpPr>
        <p:spPr>
          <a:xfrm>
            <a:off x="4595719" y="4365662"/>
            <a:ext cx="1890001" cy="4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26" name="矩形 25"/>
          <p:cNvSpPr/>
          <p:nvPr/>
        </p:nvSpPr>
        <p:spPr>
          <a:xfrm flipV="1">
            <a:off x="6556911" y="1269416"/>
            <a:ext cx="1890001" cy="40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grpSp>
        <p:nvGrpSpPr>
          <p:cNvPr id="27" name="组合 26"/>
          <p:cNvGrpSpPr/>
          <p:nvPr/>
        </p:nvGrpSpPr>
        <p:grpSpPr>
          <a:xfrm>
            <a:off x="683569" y="2454744"/>
            <a:ext cx="1890000" cy="515726"/>
            <a:chOff x="1059693" y="3272991"/>
            <a:chExt cx="2520000" cy="687635"/>
          </a:xfrm>
          <a:solidFill>
            <a:schemeClr val="bg1"/>
          </a:solidFill>
        </p:grpSpPr>
        <p:sp>
          <p:nvSpPr>
            <p:cNvPr id="28" name="五边形 27"/>
            <p:cNvSpPr/>
            <p:nvPr/>
          </p:nvSpPr>
          <p:spPr>
            <a:xfrm rot="16200000">
              <a:off x="1975875" y="2356809"/>
              <a:ext cx="687635" cy="2520000"/>
            </a:xfrm>
            <a:prstGeom prst="homePlate">
              <a:avLst>
                <a:gd name="adj" fmla="val 4870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29" name="文本框 34"/>
            <p:cNvSpPr txBox="1"/>
            <p:nvPr/>
          </p:nvSpPr>
          <p:spPr>
            <a:xfrm>
              <a:off x="1259246" y="350201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FZSJ-YANGGNH" panose="02010600010101010101" pitchFamily="2" charset="-122"/>
                  <a:ea typeface="FZSJ-YANGGNH" panose="02010600010101010101" pitchFamily="2" charset="-122"/>
                </a:rPr>
                <a:t>添加标题</a:t>
              </a:r>
            </a:p>
          </p:txBody>
        </p:sp>
      </p:grpSp>
      <p:sp>
        <p:nvSpPr>
          <p:cNvPr id="30" name="文本框 35"/>
          <p:cNvSpPr txBox="1"/>
          <p:nvPr/>
        </p:nvSpPr>
        <p:spPr>
          <a:xfrm>
            <a:off x="716383"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nvGrpSpPr>
          <p:cNvPr id="31" name="组合 30"/>
          <p:cNvGrpSpPr/>
          <p:nvPr/>
        </p:nvGrpSpPr>
        <p:grpSpPr>
          <a:xfrm>
            <a:off x="4595720" y="2454744"/>
            <a:ext cx="1890000" cy="551486"/>
            <a:chOff x="6093398" y="3272991"/>
            <a:chExt cx="2520000" cy="735315"/>
          </a:xfrm>
        </p:grpSpPr>
        <p:sp>
          <p:nvSpPr>
            <p:cNvPr id="32" name="五边形 31"/>
            <p:cNvSpPr/>
            <p:nvPr/>
          </p:nvSpPr>
          <p:spPr>
            <a:xfrm rot="16200000">
              <a:off x="7009580" y="2356809"/>
              <a:ext cx="687635" cy="2520000"/>
            </a:xfrm>
            <a:prstGeom prst="homePlate">
              <a:avLst>
                <a:gd name="adj" fmla="val 4870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33" name="文本框 36"/>
            <p:cNvSpPr txBox="1"/>
            <p:nvPr/>
          </p:nvSpPr>
          <p:spPr>
            <a:xfrm>
              <a:off x="6292951" y="3552796"/>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FZSJ-YANGGNH" panose="02010600010101010101" pitchFamily="2" charset="-122"/>
                  <a:ea typeface="FZSJ-YANGGNH" panose="02010600010101010101" pitchFamily="2" charset="-122"/>
                </a:rPr>
                <a:t>添加标题</a:t>
              </a:r>
            </a:p>
          </p:txBody>
        </p:sp>
      </p:grpSp>
      <p:grpSp>
        <p:nvGrpSpPr>
          <p:cNvPr id="34" name="组合 33"/>
          <p:cNvGrpSpPr/>
          <p:nvPr/>
        </p:nvGrpSpPr>
        <p:grpSpPr>
          <a:xfrm>
            <a:off x="2639887" y="2705109"/>
            <a:ext cx="1890000" cy="515726"/>
            <a:chOff x="3572106" y="3606811"/>
            <a:chExt cx="2520000" cy="687635"/>
          </a:xfrm>
        </p:grpSpPr>
        <p:sp>
          <p:nvSpPr>
            <p:cNvPr id="35" name="五边形 34"/>
            <p:cNvSpPr/>
            <p:nvPr/>
          </p:nvSpPr>
          <p:spPr>
            <a:xfrm rot="5400000" flipV="1">
              <a:off x="4488288" y="2690629"/>
              <a:ext cx="687635" cy="2520000"/>
            </a:xfrm>
            <a:prstGeom prst="homePlate">
              <a:avLst>
                <a:gd name="adj" fmla="val 4870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36" name="文本框 37"/>
            <p:cNvSpPr txBox="1"/>
            <p:nvPr/>
          </p:nvSpPr>
          <p:spPr>
            <a:xfrm>
              <a:off x="3778158" y="367107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FZSJ-YANGGNH" panose="02010600010101010101" pitchFamily="2" charset="-122"/>
                  <a:ea typeface="FZSJ-YANGGNH" panose="02010600010101010101" pitchFamily="2" charset="-122"/>
                </a:rPr>
                <a:t>添加标题</a:t>
              </a:r>
            </a:p>
          </p:txBody>
        </p:sp>
      </p:grpSp>
      <p:grpSp>
        <p:nvGrpSpPr>
          <p:cNvPr id="37" name="组合 36"/>
          <p:cNvGrpSpPr/>
          <p:nvPr/>
        </p:nvGrpSpPr>
        <p:grpSpPr>
          <a:xfrm>
            <a:off x="6556911" y="2705109"/>
            <a:ext cx="1890000" cy="515726"/>
            <a:chOff x="8612309" y="3606811"/>
            <a:chExt cx="2520000" cy="687635"/>
          </a:xfrm>
        </p:grpSpPr>
        <p:sp>
          <p:nvSpPr>
            <p:cNvPr id="38" name="五边形 37"/>
            <p:cNvSpPr/>
            <p:nvPr/>
          </p:nvSpPr>
          <p:spPr>
            <a:xfrm rot="5400000" flipV="1">
              <a:off x="9528491" y="2690629"/>
              <a:ext cx="687635" cy="2520000"/>
            </a:xfrm>
            <a:prstGeom prst="homePlate">
              <a:avLst>
                <a:gd name="adj" fmla="val 487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39" name="文本框 38"/>
            <p:cNvSpPr txBox="1"/>
            <p:nvPr/>
          </p:nvSpPr>
          <p:spPr>
            <a:xfrm>
              <a:off x="8811864" y="3671070"/>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FZSJ-YANGGNH" panose="02010600010101010101" pitchFamily="2" charset="-122"/>
                  <a:ea typeface="FZSJ-YANGGNH" panose="02010600010101010101" pitchFamily="2" charset="-122"/>
                </a:rPr>
                <a:t>添加标题</a:t>
              </a:r>
            </a:p>
          </p:txBody>
        </p:sp>
      </p:grpSp>
      <p:sp>
        <p:nvSpPr>
          <p:cNvPr id="40" name="文本框 39"/>
          <p:cNvSpPr txBox="1"/>
          <p:nvPr/>
        </p:nvSpPr>
        <p:spPr>
          <a:xfrm>
            <a:off x="4667936"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sp>
        <p:nvSpPr>
          <p:cNvPr id="41" name="文本框 40"/>
          <p:cNvSpPr txBox="1"/>
          <p:nvPr/>
        </p:nvSpPr>
        <p:spPr>
          <a:xfrm>
            <a:off x="2652176"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sp>
        <p:nvSpPr>
          <p:cNvPr id="42" name="文本框 41"/>
          <p:cNvSpPr txBox="1"/>
          <p:nvPr/>
        </p:nvSpPr>
        <p:spPr>
          <a:xfrm>
            <a:off x="6612152"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FZSJ-YANGGNH" panose="02010600010101010101" pitchFamily="2" charset="-122"/>
                <a:ea typeface="FZSJ-YANGGNH" panose="02010600010101010101" pitchFamily="2" charset="-122"/>
              </a:rPr>
              <a:t>单击添加文本单击添加文本单击添加文本单击添加文本单击添加文本单击添加文本单击添加文本单击添加文本单击添加文本单击添加文本单击添加文本单击添加文本单击添加文本</a:t>
            </a:r>
            <a:endParaRPr lang="en-US" altLang="zh-CN" sz="1000" dirty="0">
              <a:solidFill>
                <a:schemeClr val="accent1"/>
              </a:solidFill>
              <a:latin typeface="FZSJ-YANGGNH" panose="02010600010101010101" pitchFamily="2" charset="-122"/>
              <a:ea typeface="FZSJ-YANGGNH" panose="02010600010101010101" pitchFamily="2" charset="-122"/>
            </a:endParaRPr>
          </a:p>
        </p:txBody>
      </p:sp>
      <p:grpSp>
        <p:nvGrpSpPr>
          <p:cNvPr id="43" name="组合 42"/>
          <p:cNvGrpSpPr/>
          <p:nvPr/>
        </p:nvGrpSpPr>
        <p:grpSpPr>
          <a:xfrm>
            <a:off x="7341121" y="3100591"/>
            <a:ext cx="306215" cy="849213"/>
            <a:chOff x="9657920" y="3891279"/>
            <a:chExt cx="408286" cy="1132283"/>
          </a:xfrm>
        </p:grpSpPr>
        <p:cxnSp>
          <p:nvCxnSpPr>
            <p:cNvPr id="44" name="直接连接符 43"/>
            <p:cNvCxnSpPr/>
            <p:nvPr/>
          </p:nvCxnSpPr>
          <p:spPr>
            <a:xfrm flipH="1" flipV="1">
              <a:off x="9873040" y="3891279"/>
              <a:ext cx="1" cy="762730"/>
            </a:xfrm>
            <a:prstGeom prst="line">
              <a:avLst/>
            </a:prstGeom>
            <a:solidFill>
              <a:srgbClr val="375BA5"/>
            </a:solidFill>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9657920" y="4531120"/>
              <a:ext cx="408286" cy="492442"/>
              <a:chOff x="9657920" y="4531120"/>
              <a:chExt cx="408286" cy="492442"/>
            </a:xfrm>
          </p:grpSpPr>
          <p:sp>
            <p:nvSpPr>
              <p:cNvPr id="46" name="椭圆 45"/>
              <p:cNvSpPr/>
              <p:nvPr/>
            </p:nvSpPr>
            <p:spPr>
              <a:xfrm flipV="1">
                <a:off x="9678411" y="4603137"/>
                <a:ext cx="387795" cy="387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FZSJ-YANGGNH" panose="02010600010101010101" pitchFamily="2" charset="-122"/>
                  <a:ea typeface="FZSJ-YANGGNH" panose="02010600010101010101" pitchFamily="2" charset="-122"/>
                </a:endParaRPr>
              </a:p>
            </p:txBody>
          </p:sp>
          <p:sp>
            <p:nvSpPr>
              <p:cNvPr id="47" name="文本框 45"/>
              <p:cNvSpPr txBox="1"/>
              <p:nvPr/>
            </p:nvSpPr>
            <p:spPr>
              <a:xfrm>
                <a:off x="9657920" y="4531120"/>
                <a:ext cx="393698" cy="492442"/>
              </a:xfrm>
              <a:prstGeom prst="rect">
                <a:avLst/>
              </a:prstGeom>
              <a:noFill/>
            </p:spPr>
            <p:txBody>
              <a:bodyPr wrap="none" rtlCol="0">
                <a:spAutoFit/>
              </a:bodyPr>
              <a:lstStyle/>
              <a:p>
                <a:r>
                  <a:rPr lang="en-US" altLang="zh-CN" dirty="0">
                    <a:solidFill>
                      <a:schemeClr val="accent2"/>
                    </a:solidFill>
                    <a:latin typeface="FZSJ-YANGGNH" panose="02010600010101010101" pitchFamily="2" charset="-122"/>
                    <a:ea typeface="FZSJ-YANGGNH" panose="02010600010101010101" pitchFamily="2" charset="-122"/>
                  </a:rPr>
                  <a:t>4</a:t>
                </a:r>
                <a:endParaRPr lang="zh-CN" altLang="en-US" dirty="0">
                  <a:solidFill>
                    <a:schemeClr val="accent2"/>
                  </a:solidFill>
                  <a:latin typeface="FZSJ-YANGGNH" panose="02010600010101010101" pitchFamily="2" charset="-122"/>
                  <a:ea typeface="FZSJ-YANGGNH" panose="02010600010101010101" pitchFamily="2" charset="-122"/>
                </a:endParaRPr>
              </a:p>
            </p:txBody>
          </p:sp>
        </p:grpSp>
      </p:grpSp>
    </p:spTree>
    <p:extLst>
      <p:ext uri="{BB962C8B-B14F-4D97-AF65-F5344CB8AC3E}">
        <p14:creationId xmlns:p14="http://schemas.microsoft.com/office/powerpoint/2010/main" val="130037611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25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par>
                                <p:cTn id="13" presetID="1" presetClass="entr" presetSubtype="0" fill="hold" grpId="1" nodeType="withEffect">
                                  <p:stCondLst>
                                    <p:cond delay="0"/>
                                  </p:stCondLst>
                                  <p:childTnLst>
                                    <p:set>
                                      <p:cBhvr>
                                        <p:cTn id="14" dur="1" fill="hold">
                                          <p:stCondLst>
                                            <p:cond delay="499"/>
                                          </p:stCondLst>
                                        </p:cTn>
                                        <p:tgtEl>
                                          <p:spTgt spid="23"/>
                                        </p:tgtEl>
                                        <p:attrNameLst>
                                          <p:attrName>style.visibility</p:attrName>
                                        </p:attrNameLst>
                                      </p:cBhvr>
                                      <p:to>
                                        <p:strVal val="visible"/>
                                      </p:to>
                                    </p:set>
                                  </p:childTnLst>
                                </p:cTn>
                              </p:par>
                              <p:par>
                                <p:cTn id="15" presetID="42" presetClass="path" presetSubtype="0" accel="50000" decel="50000" fill="hold" grpId="0" nodeType="withEffect">
                                  <p:stCondLst>
                                    <p:cond delay="0"/>
                                  </p:stCondLst>
                                  <p:childTnLst>
                                    <p:animMotion origin="layout" path="M 5E-6 -0.27932 L 5E-6 2.22222E-6 " pathEditMode="relative" rAng="0" ptsTypes="AA">
                                      <p:cBhvr>
                                        <p:cTn id="16" dur="500" fill="hold"/>
                                        <p:tgtEl>
                                          <p:spTgt spid="23"/>
                                        </p:tgtEl>
                                        <p:attrNameLst>
                                          <p:attrName>ppt_x</p:attrName>
                                          <p:attrName>ppt_y</p:attrName>
                                        </p:attrNameLst>
                                      </p:cBhvr>
                                      <p:rCtr x="0" y="13951"/>
                                    </p:animMotion>
                                  </p:childTnLst>
                                </p:cTn>
                              </p:par>
                              <p:par>
                                <p:cTn id="17" presetID="12" presetClass="entr" presetSubtype="4" fill="hold"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p:tgtEl>
                                          <p:spTgt spid="18"/>
                                        </p:tgtEl>
                                        <p:attrNameLst>
                                          <p:attrName>ppt_y</p:attrName>
                                        </p:attrNameLst>
                                      </p:cBhvr>
                                      <p:tavLst>
                                        <p:tav tm="0">
                                          <p:val>
                                            <p:strVal val="#ppt_y+#ppt_h*1.125000"/>
                                          </p:val>
                                        </p:tav>
                                        <p:tav tm="100000">
                                          <p:val>
                                            <p:strVal val="#ppt_y"/>
                                          </p:val>
                                        </p:tav>
                                      </p:tavLst>
                                    </p:anim>
                                    <p:animEffect transition="in" filter="wipe(up)">
                                      <p:cBhvr>
                                        <p:cTn id="20" dur="500"/>
                                        <p:tgtEl>
                                          <p:spTgt spid="18"/>
                                        </p:tgtEl>
                                      </p:cBhvr>
                                    </p:animEffect>
                                  </p:childTnLst>
                                </p:cTn>
                              </p:par>
                            </p:childTnLst>
                          </p:cTn>
                        </p:par>
                        <p:par>
                          <p:cTn id="21" fill="hold">
                            <p:stCondLst>
                              <p:cond delay="1250"/>
                            </p:stCondLst>
                            <p:childTnLst>
                              <p:par>
                                <p:cTn id="22" presetID="2" presetClass="entr" presetSubtype="1"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 calcmode="lin" valueType="num">
                                      <p:cBhvr additive="base">
                                        <p:cTn id="24" dur="500" fill="hold"/>
                                        <p:tgtEl>
                                          <p:spTgt spid="34"/>
                                        </p:tgtEl>
                                        <p:attrNameLst>
                                          <p:attrName>ppt_x</p:attrName>
                                        </p:attrNameLst>
                                      </p:cBhvr>
                                      <p:tavLst>
                                        <p:tav tm="0">
                                          <p:val>
                                            <p:strVal val="#ppt_x"/>
                                          </p:val>
                                        </p:tav>
                                        <p:tav tm="100000">
                                          <p:val>
                                            <p:strVal val="#ppt_x"/>
                                          </p:val>
                                        </p:tav>
                                      </p:tavLst>
                                    </p:anim>
                                    <p:anim calcmode="lin" valueType="num">
                                      <p:cBhvr additive="base">
                                        <p:cTn id="25" dur="500" fill="hold"/>
                                        <p:tgtEl>
                                          <p:spTgt spid="34"/>
                                        </p:tgtEl>
                                        <p:attrNameLst>
                                          <p:attrName>ppt_y</p:attrName>
                                        </p:attrNameLst>
                                      </p:cBhvr>
                                      <p:tavLst>
                                        <p:tav tm="0">
                                          <p:val>
                                            <p:strVal val="0-#ppt_h/2"/>
                                          </p:val>
                                        </p:tav>
                                        <p:tav tm="100000">
                                          <p:val>
                                            <p:strVal val="#ppt_y"/>
                                          </p:val>
                                        </p:tav>
                                      </p:tavLst>
                                    </p:anim>
                                  </p:childTnLst>
                                </p:cTn>
                              </p:par>
                            </p:childTnLst>
                          </p:cTn>
                        </p:par>
                        <p:par>
                          <p:cTn id="26" fill="hold">
                            <p:stCondLst>
                              <p:cond delay="1750"/>
                            </p:stCondLst>
                            <p:childTnLst>
                              <p:par>
                                <p:cTn id="27" presetID="22" presetClass="entr" presetSubtype="4" fill="hold" grpId="0" nodeType="afterEffect">
                                  <p:stCondLst>
                                    <p:cond delay="250"/>
                                  </p:stCondLst>
                                  <p:childTnLst>
                                    <p:set>
                                      <p:cBhvr>
                                        <p:cTn id="28" dur="1" fill="hold">
                                          <p:stCondLst>
                                            <p:cond delay="0"/>
                                          </p:stCondLst>
                                        </p:cTn>
                                        <p:tgtEl>
                                          <p:spTgt spid="41"/>
                                        </p:tgtEl>
                                        <p:attrNameLst>
                                          <p:attrName>style.visibility</p:attrName>
                                        </p:attrNameLst>
                                      </p:cBhvr>
                                      <p:to>
                                        <p:strVal val="visible"/>
                                      </p:to>
                                    </p:set>
                                    <p:animEffect transition="in" filter="wipe(down)">
                                      <p:cBhvr>
                                        <p:cTn id="29" dur="500"/>
                                        <p:tgtEl>
                                          <p:spTgt spid="41"/>
                                        </p:tgtEl>
                                      </p:cBhvr>
                                    </p:animEffect>
                                  </p:childTnLst>
                                </p:cTn>
                              </p:par>
                              <p:par>
                                <p:cTn id="30" presetID="1" presetClass="entr" presetSubtype="0" fill="hold" grpId="1" nodeType="withEffect">
                                  <p:stCondLst>
                                    <p:cond delay="0"/>
                                  </p:stCondLst>
                                  <p:childTnLst>
                                    <p:set>
                                      <p:cBhvr>
                                        <p:cTn id="31" dur="1" fill="hold">
                                          <p:stCondLst>
                                            <p:cond delay="499"/>
                                          </p:stCondLst>
                                        </p:cTn>
                                        <p:tgtEl>
                                          <p:spTgt spid="24"/>
                                        </p:tgtEl>
                                        <p:attrNameLst>
                                          <p:attrName>style.visibility</p:attrName>
                                        </p:attrNameLst>
                                      </p:cBhvr>
                                      <p:to>
                                        <p:strVal val="visible"/>
                                      </p:to>
                                    </p:set>
                                  </p:childTnLst>
                                </p:cTn>
                              </p:par>
                              <p:par>
                                <p:cTn id="32" presetID="64" presetClass="path" presetSubtype="0" accel="50000" decel="50000" fill="hold" grpId="0" nodeType="withEffect">
                                  <p:stCondLst>
                                    <p:cond delay="0"/>
                                  </p:stCondLst>
                                  <p:childTnLst>
                                    <p:animMotion origin="layout" path="M -3.88889E-6 0.28024 L -3.88889E-6 2.71605E-6 " pathEditMode="relative" rAng="0" ptsTypes="AA">
                                      <p:cBhvr>
                                        <p:cTn id="33" dur="500" fill="hold"/>
                                        <p:tgtEl>
                                          <p:spTgt spid="24"/>
                                        </p:tgtEl>
                                        <p:attrNameLst>
                                          <p:attrName>ppt_x</p:attrName>
                                          <p:attrName>ppt_y</p:attrName>
                                        </p:attrNameLst>
                                      </p:cBhvr>
                                      <p:rCtr x="0" y="-14012"/>
                                    </p:animMotion>
                                  </p:childTnLst>
                                </p:cTn>
                              </p:par>
                              <p:par>
                                <p:cTn id="34" presetID="12" presetClass="entr" presetSubtype="1" fill="hold" nodeType="withEffect">
                                  <p:stCondLst>
                                    <p:cond delay="25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p:tgtEl>
                                          <p:spTgt spid="13"/>
                                        </p:tgtEl>
                                        <p:attrNameLst>
                                          <p:attrName>ppt_y</p:attrName>
                                        </p:attrNameLst>
                                      </p:cBhvr>
                                      <p:tavLst>
                                        <p:tav tm="0">
                                          <p:val>
                                            <p:strVal val="#ppt_y-#ppt_h*1.125000"/>
                                          </p:val>
                                        </p:tav>
                                        <p:tav tm="100000">
                                          <p:val>
                                            <p:strVal val="#ppt_y"/>
                                          </p:val>
                                        </p:tav>
                                      </p:tavLst>
                                    </p:anim>
                                    <p:animEffect transition="in" filter="wipe(down)">
                                      <p:cBhvr>
                                        <p:cTn id="37" dur="500"/>
                                        <p:tgtEl>
                                          <p:spTgt spid="13"/>
                                        </p:tgtEl>
                                      </p:cBhvr>
                                    </p:animEffect>
                                  </p:childTnLst>
                                </p:cTn>
                              </p:par>
                            </p:childTnLst>
                          </p:cTn>
                        </p:par>
                        <p:par>
                          <p:cTn id="38" fill="hold">
                            <p:stCondLst>
                              <p:cond delay="2500"/>
                            </p:stCondLst>
                            <p:childTnLst>
                              <p:par>
                                <p:cTn id="39" presetID="2" presetClass="entr" presetSubtype="4" fill="hold" nodeType="after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additive="base">
                                        <p:cTn id="41" dur="500" fill="hold"/>
                                        <p:tgtEl>
                                          <p:spTgt spid="31"/>
                                        </p:tgtEl>
                                        <p:attrNameLst>
                                          <p:attrName>ppt_x</p:attrName>
                                        </p:attrNameLst>
                                      </p:cBhvr>
                                      <p:tavLst>
                                        <p:tav tm="0">
                                          <p:val>
                                            <p:strVal val="#ppt_x"/>
                                          </p:val>
                                        </p:tav>
                                        <p:tav tm="100000">
                                          <p:val>
                                            <p:strVal val="#ppt_x"/>
                                          </p:val>
                                        </p:tav>
                                      </p:tavLst>
                                    </p:anim>
                                    <p:anim calcmode="lin" valueType="num">
                                      <p:cBhvr additive="base">
                                        <p:cTn id="42" dur="500" fill="hold"/>
                                        <p:tgtEl>
                                          <p:spTgt spid="31"/>
                                        </p:tgtEl>
                                        <p:attrNameLst>
                                          <p:attrName>ppt_y</p:attrName>
                                        </p:attrNameLst>
                                      </p:cBhvr>
                                      <p:tavLst>
                                        <p:tav tm="0">
                                          <p:val>
                                            <p:strVal val="1+#ppt_h/2"/>
                                          </p:val>
                                        </p:tav>
                                        <p:tav tm="100000">
                                          <p:val>
                                            <p:strVal val="#ppt_y"/>
                                          </p:val>
                                        </p:tav>
                                      </p:tavLst>
                                    </p:anim>
                                  </p:childTnLst>
                                </p:cTn>
                              </p:par>
                            </p:childTnLst>
                          </p:cTn>
                        </p:par>
                        <p:par>
                          <p:cTn id="43" fill="hold">
                            <p:stCondLst>
                              <p:cond delay="3000"/>
                            </p:stCondLst>
                            <p:childTnLst>
                              <p:par>
                                <p:cTn id="44" presetID="22" presetClass="entr" presetSubtype="1" fill="hold" grpId="0" nodeType="afterEffect">
                                  <p:stCondLst>
                                    <p:cond delay="250"/>
                                  </p:stCondLst>
                                  <p:childTnLst>
                                    <p:set>
                                      <p:cBhvr>
                                        <p:cTn id="45" dur="1" fill="hold">
                                          <p:stCondLst>
                                            <p:cond delay="0"/>
                                          </p:stCondLst>
                                        </p:cTn>
                                        <p:tgtEl>
                                          <p:spTgt spid="40"/>
                                        </p:tgtEl>
                                        <p:attrNameLst>
                                          <p:attrName>style.visibility</p:attrName>
                                        </p:attrNameLst>
                                      </p:cBhvr>
                                      <p:to>
                                        <p:strVal val="visible"/>
                                      </p:to>
                                    </p:set>
                                    <p:animEffect transition="in" filter="wipe(up)">
                                      <p:cBhvr>
                                        <p:cTn id="46" dur="500"/>
                                        <p:tgtEl>
                                          <p:spTgt spid="40"/>
                                        </p:tgtEl>
                                      </p:cBhvr>
                                    </p:animEffect>
                                  </p:childTnLst>
                                </p:cTn>
                              </p:par>
                              <p:par>
                                <p:cTn id="47" presetID="1" presetClass="entr" presetSubtype="0" fill="hold" grpId="0" nodeType="withEffect">
                                  <p:stCondLst>
                                    <p:cond delay="0"/>
                                  </p:stCondLst>
                                  <p:childTnLst>
                                    <p:set>
                                      <p:cBhvr>
                                        <p:cTn id="48" dur="1" fill="hold">
                                          <p:stCondLst>
                                            <p:cond delay="499"/>
                                          </p:stCondLst>
                                        </p:cTn>
                                        <p:tgtEl>
                                          <p:spTgt spid="25"/>
                                        </p:tgtEl>
                                        <p:attrNameLst>
                                          <p:attrName>style.visibility</p:attrName>
                                        </p:attrNameLst>
                                      </p:cBhvr>
                                      <p:to>
                                        <p:strVal val="visible"/>
                                      </p:to>
                                    </p:set>
                                  </p:childTnLst>
                                </p:cTn>
                              </p:par>
                              <p:par>
                                <p:cTn id="49" presetID="42" presetClass="path" presetSubtype="0" accel="50000" decel="50000" fill="hold" grpId="1" nodeType="withEffect">
                                  <p:stCondLst>
                                    <p:cond delay="0"/>
                                  </p:stCondLst>
                                  <p:childTnLst>
                                    <p:animMotion origin="layout" path="M -2.77778E-6 -0.27932 L -2.77778E-6 2.22222E-6 " pathEditMode="relative" rAng="0" ptsTypes="AA">
                                      <p:cBhvr>
                                        <p:cTn id="50" dur="500" fill="hold"/>
                                        <p:tgtEl>
                                          <p:spTgt spid="25"/>
                                        </p:tgtEl>
                                        <p:attrNameLst>
                                          <p:attrName>ppt_x</p:attrName>
                                          <p:attrName>ppt_y</p:attrName>
                                        </p:attrNameLst>
                                      </p:cBhvr>
                                      <p:rCtr x="0" y="13951"/>
                                    </p:animMotion>
                                  </p:childTnLst>
                                </p:cTn>
                              </p:par>
                              <p:par>
                                <p:cTn id="51" presetID="12" presetClass="entr" presetSubtype="4" fill="hold" nodeType="withEffect">
                                  <p:stCondLst>
                                    <p:cond delay="250"/>
                                  </p:stCondLst>
                                  <p:childTnLst>
                                    <p:set>
                                      <p:cBhvr>
                                        <p:cTn id="52" dur="1" fill="hold">
                                          <p:stCondLst>
                                            <p:cond delay="0"/>
                                          </p:stCondLst>
                                        </p:cTn>
                                        <p:tgtEl>
                                          <p:spTgt spid="8"/>
                                        </p:tgtEl>
                                        <p:attrNameLst>
                                          <p:attrName>style.visibility</p:attrName>
                                        </p:attrNameLst>
                                      </p:cBhvr>
                                      <p:to>
                                        <p:strVal val="visible"/>
                                      </p:to>
                                    </p:set>
                                    <p:anim calcmode="lin" valueType="num">
                                      <p:cBhvr additive="base">
                                        <p:cTn id="53" dur="500"/>
                                        <p:tgtEl>
                                          <p:spTgt spid="8"/>
                                        </p:tgtEl>
                                        <p:attrNameLst>
                                          <p:attrName>ppt_y</p:attrName>
                                        </p:attrNameLst>
                                      </p:cBhvr>
                                      <p:tavLst>
                                        <p:tav tm="0">
                                          <p:val>
                                            <p:strVal val="#ppt_y+#ppt_h*1.125000"/>
                                          </p:val>
                                        </p:tav>
                                        <p:tav tm="100000">
                                          <p:val>
                                            <p:strVal val="#ppt_y"/>
                                          </p:val>
                                        </p:tav>
                                      </p:tavLst>
                                    </p:anim>
                                    <p:animEffect transition="in" filter="wipe(up)">
                                      <p:cBhvr>
                                        <p:cTn id="54" dur="500"/>
                                        <p:tgtEl>
                                          <p:spTgt spid="8"/>
                                        </p:tgtEl>
                                      </p:cBhvr>
                                    </p:animEffect>
                                  </p:childTnLst>
                                </p:cTn>
                              </p:par>
                            </p:childTnLst>
                          </p:cTn>
                        </p:par>
                        <p:par>
                          <p:cTn id="55" fill="hold">
                            <p:stCondLst>
                              <p:cond delay="3750"/>
                            </p:stCondLst>
                            <p:childTnLst>
                              <p:par>
                                <p:cTn id="56" presetID="2" presetClass="entr" presetSubtype="1" fill="hold" nodeType="afterEffect">
                                  <p:stCondLst>
                                    <p:cond delay="0"/>
                                  </p:stCondLst>
                                  <p:childTnLst>
                                    <p:set>
                                      <p:cBhvr>
                                        <p:cTn id="57" dur="1" fill="hold">
                                          <p:stCondLst>
                                            <p:cond delay="0"/>
                                          </p:stCondLst>
                                        </p:cTn>
                                        <p:tgtEl>
                                          <p:spTgt spid="37"/>
                                        </p:tgtEl>
                                        <p:attrNameLst>
                                          <p:attrName>style.visibility</p:attrName>
                                        </p:attrNameLst>
                                      </p:cBhvr>
                                      <p:to>
                                        <p:strVal val="visible"/>
                                      </p:to>
                                    </p:set>
                                    <p:anim calcmode="lin" valueType="num">
                                      <p:cBhvr additive="base">
                                        <p:cTn id="58" dur="500" fill="hold"/>
                                        <p:tgtEl>
                                          <p:spTgt spid="37"/>
                                        </p:tgtEl>
                                        <p:attrNameLst>
                                          <p:attrName>ppt_x</p:attrName>
                                        </p:attrNameLst>
                                      </p:cBhvr>
                                      <p:tavLst>
                                        <p:tav tm="0">
                                          <p:val>
                                            <p:strVal val="#ppt_x"/>
                                          </p:val>
                                        </p:tav>
                                        <p:tav tm="100000">
                                          <p:val>
                                            <p:strVal val="#ppt_x"/>
                                          </p:val>
                                        </p:tav>
                                      </p:tavLst>
                                    </p:anim>
                                    <p:anim calcmode="lin" valueType="num">
                                      <p:cBhvr additive="base">
                                        <p:cTn id="59" dur="500" fill="hold"/>
                                        <p:tgtEl>
                                          <p:spTgt spid="37"/>
                                        </p:tgtEl>
                                        <p:attrNameLst>
                                          <p:attrName>ppt_y</p:attrName>
                                        </p:attrNameLst>
                                      </p:cBhvr>
                                      <p:tavLst>
                                        <p:tav tm="0">
                                          <p:val>
                                            <p:strVal val="0-#ppt_h/2"/>
                                          </p:val>
                                        </p:tav>
                                        <p:tav tm="100000">
                                          <p:val>
                                            <p:strVal val="#ppt_y"/>
                                          </p:val>
                                        </p:tav>
                                      </p:tavLst>
                                    </p:anim>
                                  </p:childTnLst>
                                </p:cTn>
                              </p:par>
                            </p:childTnLst>
                          </p:cTn>
                        </p:par>
                        <p:par>
                          <p:cTn id="60" fill="hold">
                            <p:stCondLst>
                              <p:cond delay="4250"/>
                            </p:stCondLst>
                            <p:childTnLst>
                              <p:par>
                                <p:cTn id="61" presetID="22" presetClass="entr" presetSubtype="4" fill="hold" grpId="0" nodeType="afterEffect">
                                  <p:stCondLst>
                                    <p:cond delay="250"/>
                                  </p:stCondLst>
                                  <p:childTnLst>
                                    <p:set>
                                      <p:cBhvr>
                                        <p:cTn id="62" dur="1" fill="hold">
                                          <p:stCondLst>
                                            <p:cond delay="0"/>
                                          </p:stCondLst>
                                        </p:cTn>
                                        <p:tgtEl>
                                          <p:spTgt spid="42"/>
                                        </p:tgtEl>
                                        <p:attrNameLst>
                                          <p:attrName>style.visibility</p:attrName>
                                        </p:attrNameLst>
                                      </p:cBhvr>
                                      <p:to>
                                        <p:strVal val="visible"/>
                                      </p:to>
                                    </p:set>
                                    <p:animEffect transition="in" filter="wipe(down)">
                                      <p:cBhvr>
                                        <p:cTn id="63" dur="500"/>
                                        <p:tgtEl>
                                          <p:spTgt spid="42"/>
                                        </p:tgtEl>
                                      </p:cBhvr>
                                    </p:animEffect>
                                  </p:childTnLst>
                                </p:cTn>
                              </p:par>
                              <p:par>
                                <p:cTn id="64" presetID="1" presetClass="entr" presetSubtype="0" fill="hold" grpId="0" nodeType="withEffect">
                                  <p:stCondLst>
                                    <p:cond delay="0"/>
                                  </p:stCondLst>
                                  <p:childTnLst>
                                    <p:set>
                                      <p:cBhvr>
                                        <p:cTn id="65" dur="1" fill="hold">
                                          <p:stCondLst>
                                            <p:cond delay="499"/>
                                          </p:stCondLst>
                                        </p:cTn>
                                        <p:tgtEl>
                                          <p:spTgt spid="26"/>
                                        </p:tgtEl>
                                        <p:attrNameLst>
                                          <p:attrName>style.visibility</p:attrName>
                                        </p:attrNameLst>
                                      </p:cBhvr>
                                      <p:to>
                                        <p:strVal val="visible"/>
                                      </p:to>
                                    </p:set>
                                  </p:childTnLst>
                                </p:cTn>
                              </p:par>
                              <p:par>
                                <p:cTn id="66" presetID="64" presetClass="path" presetSubtype="0" accel="50000" decel="50000" fill="hold" grpId="1" nodeType="withEffect">
                                  <p:stCondLst>
                                    <p:cond delay="0"/>
                                  </p:stCondLst>
                                  <p:childTnLst>
                                    <p:animMotion origin="layout" path="M -2.5E-6 0.28024 L -2.5E-6 2.71605E-6 " pathEditMode="relative" rAng="0" ptsTypes="AA">
                                      <p:cBhvr>
                                        <p:cTn id="67" dur="500" fill="hold"/>
                                        <p:tgtEl>
                                          <p:spTgt spid="26"/>
                                        </p:tgtEl>
                                        <p:attrNameLst>
                                          <p:attrName>ppt_x</p:attrName>
                                          <p:attrName>ppt_y</p:attrName>
                                        </p:attrNameLst>
                                      </p:cBhvr>
                                      <p:rCtr x="0" y="-14012"/>
                                    </p:animMotion>
                                  </p:childTnLst>
                                </p:cTn>
                              </p:par>
                              <p:par>
                                <p:cTn id="68" presetID="12" presetClass="entr" presetSubtype="1" fill="hold" nodeType="withEffect">
                                  <p:stCondLst>
                                    <p:cond delay="250"/>
                                  </p:stCondLst>
                                  <p:childTnLst>
                                    <p:set>
                                      <p:cBhvr>
                                        <p:cTn id="69" dur="1" fill="hold">
                                          <p:stCondLst>
                                            <p:cond delay="0"/>
                                          </p:stCondLst>
                                        </p:cTn>
                                        <p:tgtEl>
                                          <p:spTgt spid="43"/>
                                        </p:tgtEl>
                                        <p:attrNameLst>
                                          <p:attrName>style.visibility</p:attrName>
                                        </p:attrNameLst>
                                      </p:cBhvr>
                                      <p:to>
                                        <p:strVal val="visible"/>
                                      </p:to>
                                    </p:set>
                                    <p:anim calcmode="lin" valueType="num">
                                      <p:cBhvr additive="base">
                                        <p:cTn id="70" dur="500"/>
                                        <p:tgtEl>
                                          <p:spTgt spid="43"/>
                                        </p:tgtEl>
                                        <p:attrNameLst>
                                          <p:attrName>ppt_y</p:attrName>
                                        </p:attrNameLst>
                                      </p:cBhvr>
                                      <p:tavLst>
                                        <p:tav tm="0">
                                          <p:val>
                                            <p:strVal val="#ppt_y-#ppt_h*1.125000"/>
                                          </p:val>
                                        </p:tav>
                                        <p:tav tm="100000">
                                          <p:val>
                                            <p:strVal val="#ppt_y"/>
                                          </p:val>
                                        </p:tav>
                                      </p:tavLst>
                                    </p:anim>
                                    <p:animEffect transition="in" filter="wipe(down)">
                                      <p:cBhvr>
                                        <p:cTn id="7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P spid="26" grpId="1" animBg="1"/>
      <p:bldP spid="30"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5"/>
          <p:cNvSpPr>
            <a:spLocks noChangeArrowheads="1"/>
          </p:cNvSpPr>
          <p:nvPr/>
        </p:nvSpPr>
        <p:spPr bwMode="auto">
          <a:xfrm>
            <a:off x="2746375" y="2054225"/>
            <a:ext cx="509588" cy="646113"/>
          </a:xfrm>
          <a:custGeom>
            <a:avLst/>
            <a:gdLst>
              <a:gd name="T0" fmla="*/ 427155 w 136"/>
              <a:gd name="T1" fmla="*/ 236658 h 172"/>
              <a:gd name="T2" fmla="*/ 453383 w 136"/>
              <a:gd name="T3" fmla="*/ 229145 h 172"/>
              <a:gd name="T4" fmla="*/ 505841 w 136"/>
              <a:gd name="T5" fmla="*/ 22539 h 172"/>
              <a:gd name="T6" fmla="*/ 487106 w 136"/>
              <a:gd name="T7" fmla="*/ 7513 h 172"/>
              <a:gd name="T8" fmla="*/ 296011 w 136"/>
              <a:gd name="T9" fmla="*/ 86399 h 172"/>
              <a:gd name="T10" fmla="*/ 288517 w 136"/>
              <a:gd name="T11" fmla="*/ 116451 h 172"/>
              <a:gd name="T12" fmla="*/ 314746 w 136"/>
              <a:gd name="T13" fmla="*/ 138989 h 172"/>
              <a:gd name="T14" fmla="*/ 251047 w 136"/>
              <a:gd name="T15" fmla="*/ 210362 h 172"/>
              <a:gd name="T16" fmla="*/ 0 w 136"/>
              <a:gd name="T17" fmla="*/ 142746 h 172"/>
              <a:gd name="T18" fmla="*/ 0 w 136"/>
              <a:gd name="T19" fmla="*/ 646113 h 172"/>
              <a:gd name="T20" fmla="*/ 472118 w 136"/>
              <a:gd name="T21" fmla="*/ 480828 h 172"/>
              <a:gd name="T22" fmla="*/ 344721 w 136"/>
              <a:gd name="T23" fmla="*/ 281735 h 172"/>
              <a:gd name="T24" fmla="*/ 400926 w 136"/>
              <a:gd name="T25" fmla="*/ 214119 h 172"/>
              <a:gd name="T26" fmla="*/ 427155 w 136"/>
              <a:gd name="T27" fmla="*/ 236658 h 1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72"/>
              <a:gd name="T44" fmla="*/ 136 w 136"/>
              <a:gd name="T45" fmla="*/ 172 h 1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72">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chemeClr val="bg1"/>
          </a:solidFill>
          <a:ln>
            <a:noFill/>
          </a:ln>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9" name="Freeform 6"/>
          <p:cNvSpPr>
            <a:spLocks noChangeArrowheads="1"/>
          </p:cNvSpPr>
          <p:nvPr/>
        </p:nvSpPr>
        <p:spPr bwMode="auto">
          <a:xfrm>
            <a:off x="1954213" y="2212975"/>
            <a:ext cx="739775" cy="771525"/>
          </a:xfrm>
          <a:custGeom>
            <a:avLst/>
            <a:gdLst>
              <a:gd name="T0" fmla="*/ 739775 w 197"/>
              <a:gd name="T1" fmla="*/ 0 h 206"/>
              <a:gd name="T2" fmla="*/ 322947 w 197"/>
              <a:gd name="T3" fmla="*/ 220971 h 206"/>
              <a:gd name="T4" fmla="*/ 225312 w 197"/>
              <a:gd name="T5" fmla="*/ 157301 h 206"/>
              <a:gd name="T6" fmla="*/ 240333 w 197"/>
              <a:gd name="T7" fmla="*/ 127339 h 206"/>
              <a:gd name="T8" fmla="*/ 229067 w 197"/>
              <a:gd name="T9" fmla="*/ 101122 h 206"/>
              <a:gd name="T10" fmla="*/ 18776 w 197"/>
              <a:gd name="T11" fmla="*/ 82396 h 206"/>
              <a:gd name="T12" fmla="*/ 7510 w 197"/>
              <a:gd name="T13" fmla="*/ 101122 h 206"/>
              <a:gd name="T14" fmla="*/ 116411 w 197"/>
              <a:gd name="T15" fmla="*/ 284640 h 206"/>
              <a:gd name="T16" fmla="*/ 146453 w 197"/>
              <a:gd name="T17" fmla="*/ 284640 h 206"/>
              <a:gd name="T18" fmla="*/ 161474 w 197"/>
              <a:gd name="T19" fmla="*/ 254678 h 206"/>
              <a:gd name="T20" fmla="*/ 270375 w 197"/>
              <a:gd name="T21" fmla="*/ 322093 h 206"/>
              <a:gd name="T22" fmla="*/ 236578 w 197"/>
              <a:gd name="T23" fmla="*/ 501866 h 206"/>
              <a:gd name="T24" fmla="*/ 319192 w 197"/>
              <a:gd name="T25" fmla="*/ 771525 h 206"/>
              <a:gd name="T26" fmla="*/ 315437 w 197"/>
              <a:gd name="T27" fmla="*/ 764034 h 206"/>
              <a:gd name="T28" fmla="*/ 739775 w 197"/>
              <a:gd name="T29" fmla="*/ 501866 h 206"/>
              <a:gd name="T30" fmla="*/ 739775 w 197"/>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06"/>
              <a:gd name="T50" fmla="*/ 197 w 197"/>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06">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chemeClr val="tx1"/>
          </a:solidFill>
          <a:ln>
            <a:noFill/>
          </a:ln>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0" name="Freeform 7"/>
          <p:cNvSpPr>
            <a:spLocks noChangeArrowheads="1"/>
          </p:cNvSpPr>
          <p:nvPr/>
        </p:nvSpPr>
        <p:spPr bwMode="auto">
          <a:xfrm>
            <a:off x="2768600" y="257651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chemeClr val="tx1"/>
          </a:solidFill>
          <a:ln>
            <a:noFill/>
          </a:ln>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1" name="Freeform 8"/>
          <p:cNvSpPr>
            <a:spLocks noChangeArrowheads="1"/>
          </p:cNvSpPr>
          <p:nvPr/>
        </p:nvSpPr>
        <p:spPr bwMode="auto">
          <a:xfrm>
            <a:off x="2754313" y="2767013"/>
            <a:ext cx="452437" cy="709612"/>
          </a:xfrm>
          <a:custGeom>
            <a:avLst/>
            <a:gdLst>
              <a:gd name="T0" fmla="*/ 426263 w 121"/>
              <a:gd name="T1" fmla="*/ 480584 h 189"/>
              <a:gd name="T2" fmla="*/ 400089 w 121"/>
              <a:gd name="T3" fmla="*/ 469320 h 189"/>
              <a:gd name="T4" fmla="*/ 373915 w 121"/>
              <a:gd name="T5" fmla="*/ 488093 h 189"/>
              <a:gd name="T6" fmla="*/ 310349 w 121"/>
              <a:gd name="T7" fmla="*/ 390474 h 189"/>
              <a:gd name="T8" fmla="*/ 452437 w 121"/>
              <a:gd name="T9" fmla="*/ 206501 h 189"/>
              <a:gd name="T10" fmla="*/ 0 w 121"/>
              <a:gd name="T11" fmla="*/ 0 h 189"/>
              <a:gd name="T12" fmla="*/ 0 w 121"/>
              <a:gd name="T13" fmla="*/ 499357 h 189"/>
              <a:gd name="T14" fmla="*/ 213131 w 121"/>
              <a:gd name="T15" fmla="*/ 450547 h 189"/>
              <a:gd name="T16" fmla="*/ 276697 w 121"/>
              <a:gd name="T17" fmla="*/ 548166 h 189"/>
              <a:gd name="T18" fmla="*/ 246784 w 121"/>
              <a:gd name="T19" fmla="*/ 566939 h 189"/>
              <a:gd name="T20" fmla="*/ 250523 w 121"/>
              <a:gd name="T21" fmla="*/ 596975 h 189"/>
              <a:gd name="T22" fmla="*/ 433741 w 121"/>
              <a:gd name="T23" fmla="*/ 702103 h 189"/>
              <a:gd name="T24" fmla="*/ 452437 w 121"/>
              <a:gd name="T25" fmla="*/ 690839 h 189"/>
              <a:gd name="T26" fmla="*/ 426263 w 121"/>
              <a:gd name="T27" fmla="*/ 480584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89"/>
              <a:gd name="T44" fmla="*/ 121 w 121"/>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89">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chemeClr val="bg2"/>
          </a:solidFill>
          <a:ln>
            <a:noFill/>
          </a:ln>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2" name="Freeform 9"/>
          <p:cNvSpPr>
            <a:spLocks noChangeArrowheads="1"/>
          </p:cNvSpPr>
          <p:nvPr/>
        </p:nvSpPr>
        <p:spPr bwMode="auto">
          <a:xfrm>
            <a:off x="2278063" y="2767013"/>
            <a:ext cx="427037" cy="709612"/>
          </a:xfrm>
          <a:custGeom>
            <a:avLst/>
            <a:gdLst>
              <a:gd name="T0" fmla="*/ 427037 w 114"/>
              <a:gd name="T1" fmla="*/ 499357 h 189"/>
              <a:gd name="T2" fmla="*/ 427037 w 114"/>
              <a:gd name="T3" fmla="*/ 0 h 189"/>
              <a:gd name="T4" fmla="*/ 0 w 114"/>
              <a:gd name="T5" fmla="*/ 262819 h 189"/>
              <a:gd name="T6" fmla="*/ 138600 w 114"/>
              <a:gd name="T7" fmla="*/ 409247 h 189"/>
              <a:gd name="T8" fmla="*/ 86157 w 114"/>
              <a:gd name="T9" fmla="*/ 488093 h 189"/>
              <a:gd name="T10" fmla="*/ 59935 w 114"/>
              <a:gd name="T11" fmla="*/ 469320 h 189"/>
              <a:gd name="T12" fmla="*/ 33713 w 114"/>
              <a:gd name="T13" fmla="*/ 480584 h 189"/>
              <a:gd name="T14" fmla="*/ 7492 w 114"/>
              <a:gd name="T15" fmla="*/ 690839 h 189"/>
              <a:gd name="T16" fmla="*/ 29968 w 114"/>
              <a:gd name="T17" fmla="*/ 702103 h 189"/>
              <a:gd name="T18" fmla="*/ 209773 w 114"/>
              <a:gd name="T19" fmla="*/ 596975 h 189"/>
              <a:gd name="T20" fmla="*/ 213519 w 114"/>
              <a:gd name="T21" fmla="*/ 566939 h 189"/>
              <a:gd name="T22" fmla="*/ 183551 w 114"/>
              <a:gd name="T23" fmla="*/ 548166 h 189"/>
              <a:gd name="T24" fmla="*/ 239740 w 114"/>
              <a:gd name="T25" fmla="*/ 461811 h 189"/>
              <a:gd name="T26" fmla="*/ 427037 w 114"/>
              <a:gd name="T27" fmla="*/ 499357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189"/>
              <a:gd name="T44" fmla="*/ 114 w 114"/>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189">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tx2"/>
          </a:solidFill>
          <a:ln>
            <a:noFill/>
          </a:ln>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3" name="矩形 1"/>
          <p:cNvSpPr>
            <a:spLocks noChangeArrowheads="1"/>
          </p:cNvSpPr>
          <p:nvPr/>
        </p:nvSpPr>
        <p:spPr bwMode="auto">
          <a:xfrm>
            <a:off x="4760913" y="1452563"/>
            <a:ext cx="37719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smtClean="0">
                <a:solidFill>
                  <a:schemeClr val="bg1"/>
                </a:solidFill>
                <a:latin typeface="FZSJ-YANGGNH" panose="02010600010101010101" pitchFamily="2" charset="-122"/>
                <a:ea typeface="FZSJ-YANGGNH" panose="02010600010101010101" pitchFamily="2" charset="-122"/>
                <a:sym typeface="方正兰亭黑_GBK" panose="02000000000000000000" pitchFamily="2" charset="-122"/>
              </a:rPr>
              <a:t>标题文字</a:t>
            </a:r>
            <a:endParaRPr lang="en-US" altLang="zh-CN" sz="1600" dirty="0" smtClean="0">
              <a:solidFill>
                <a:schemeClr val="bg1"/>
              </a:solidFill>
              <a:latin typeface="FZSJ-YANGGNH" panose="02010600010101010101" pitchFamily="2" charset="-122"/>
              <a:ea typeface="FZSJ-YANGGNH" panose="02010600010101010101" pitchFamily="2" charset="-122"/>
              <a:sym typeface="方正兰亭黑_GBK" panose="02000000000000000000" pitchFamily="2" charset="-122"/>
            </a:endParaRPr>
          </a:p>
          <a:p>
            <a:pPr>
              <a:lnSpc>
                <a:spcPct val="130000"/>
              </a:lnSpc>
              <a:spcBef>
                <a:spcPct val="0"/>
              </a:spcBef>
            </a:pPr>
            <a:r>
              <a:rPr lang="zh-CN" altLang="en-US" sz="1200" dirty="0" smtClean="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a:t>
            </a:r>
            <a:r>
              <a:rPr lang="zh-CN" altLang="en-US" sz="12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录入上述图表的综合描述说明，在此录入上述图表的综合描述说明，在此录入上述图表的综合描述说明，在此录入上述图表的综合描述说明，在此</a:t>
            </a:r>
            <a:r>
              <a:rPr lang="zh-CN" altLang="en-US" sz="1200" dirty="0" smtClean="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录入</a:t>
            </a:r>
            <a:endParaRPr lang="en-US" altLang="zh-CN" sz="12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endParaRPr>
          </a:p>
          <a:p>
            <a:pPr>
              <a:lnSpc>
                <a:spcPct val="130000"/>
              </a:lnSpc>
              <a:spcBef>
                <a:spcPct val="0"/>
              </a:spcBef>
            </a:pPr>
            <a:endParaRPr lang="en-US" altLang="zh-CN" sz="1600" dirty="0" smtClean="0">
              <a:latin typeface="FZSJ-YANGGNH" panose="02010600010101010101" pitchFamily="2" charset="-122"/>
              <a:ea typeface="FZSJ-YANGGNH" panose="02010600010101010101" pitchFamily="2" charset="-122"/>
              <a:sym typeface="方正兰亭黑_GBK" panose="02000000000000000000" pitchFamily="2" charset="-122"/>
            </a:endParaRPr>
          </a:p>
          <a:p>
            <a:pPr>
              <a:lnSpc>
                <a:spcPct val="130000"/>
              </a:lnSpc>
              <a:spcBef>
                <a:spcPct val="0"/>
              </a:spcBef>
            </a:pPr>
            <a:r>
              <a:rPr lang="zh-CN" altLang="en-US" sz="1600" dirty="0" smtClean="0">
                <a:latin typeface="FZSJ-YANGGNH" panose="02010600010101010101" pitchFamily="2" charset="-122"/>
                <a:ea typeface="FZSJ-YANGGNH" panose="02010600010101010101" pitchFamily="2" charset="-122"/>
                <a:sym typeface="方正兰亭黑_GBK" panose="02000000000000000000" pitchFamily="2" charset="-122"/>
              </a:rPr>
              <a:t>标题</a:t>
            </a:r>
            <a:r>
              <a:rPr lang="zh-CN" altLang="en-US" sz="1600" dirty="0">
                <a:latin typeface="FZSJ-YANGGNH" panose="02010600010101010101" pitchFamily="2" charset="-122"/>
                <a:ea typeface="FZSJ-YANGGNH" panose="02010600010101010101" pitchFamily="2" charset="-122"/>
                <a:sym typeface="方正兰亭黑_GBK" panose="02000000000000000000" pitchFamily="2" charset="-122"/>
              </a:rPr>
              <a:t>文字</a:t>
            </a:r>
            <a:endParaRPr lang="en-US" altLang="zh-CN" sz="1600" dirty="0">
              <a:latin typeface="FZSJ-YANGGNH" panose="02010600010101010101" pitchFamily="2" charset="-122"/>
              <a:ea typeface="FZSJ-YANGGNH" panose="02010600010101010101" pitchFamily="2" charset="-122"/>
              <a:sym typeface="方正兰亭黑_GBK" panose="02000000000000000000" pitchFamily="2" charset="-122"/>
            </a:endParaRPr>
          </a:p>
          <a:p>
            <a:pPr>
              <a:lnSpc>
                <a:spcPct val="130000"/>
              </a:lnSpc>
              <a:spcBef>
                <a:spcPct val="0"/>
              </a:spcBef>
            </a:pPr>
            <a:r>
              <a:rPr lang="zh-CN" altLang="en-US" sz="12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录入上述图表的综合描述说明，在此录入上述图表的综合描述说明，在此录入上述图表的综合描述说明</a:t>
            </a:r>
            <a:r>
              <a:rPr lang="zh-CN" altLang="en-US" sz="1200" dirty="0" smtClean="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a:t>
            </a:r>
            <a:endParaRPr lang="zh-CN" altLang="en-US" sz="1200" dirty="0">
              <a:solidFill>
                <a:schemeClr val="accent1"/>
              </a:solidFill>
              <a:latin typeface="FZSJ-YANGGNH" panose="02010600010101010101" pitchFamily="2" charset="-122"/>
              <a:ea typeface="FZSJ-YANGGNH" panose="02010600010101010101" pitchFamily="2" charset="-122"/>
            </a:endParaRPr>
          </a:p>
        </p:txBody>
      </p:sp>
      <p:grpSp>
        <p:nvGrpSpPr>
          <p:cNvPr id="14" name="组合 13"/>
          <p:cNvGrpSpPr/>
          <p:nvPr/>
        </p:nvGrpSpPr>
        <p:grpSpPr>
          <a:xfrm>
            <a:off x="904875" y="1512888"/>
            <a:ext cx="996950" cy="1111250"/>
            <a:chOff x="904875" y="1512888"/>
            <a:chExt cx="996950" cy="1111250"/>
          </a:xfrm>
        </p:grpSpPr>
        <p:sp>
          <p:nvSpPr>
            <p:cNvPr id="15" name="Freeform 11"/>
            <p:cNvSpPr>
              <a:spLocks noEditPoints="1" noChangeArrowheads="1"/>
            </p:cNvSpPr>
            <p:nvPr/>
          </p:nvSpPr>
          <p:spPr bwMode="auto">
            <a:xfrm>
              <a:off x="946150" y="1668463"/>
              <a:ext cx="955675" cy="955675"/>
            </a:xfrm>
            <a:custGeom>
              <a:avLst/>
              <a:gdLst>
                <a:gd name="T0" fmla="*/ 475964 w 255"/>
                <a:gd name="T1" fmla="*/ 0 h 255"/>
                <a:gd name="T2" fmla="*/ 0 w 255"/>
                <a:gd name="T3" fmla="*/ 475964 h 255"/>
                <a:gd name="T4" fmla="*/ 475964 w 255"/>
                <a:gd name="T5" fmla="*/ 955675 h 255"/>
                <a:gd name="T6" fmla="*/ 955675 w 255"/>
                <a:gd name="T7" fmla="*/ 475964 h 255"/>
                <a:gd name="T8" fmla="*/ 475964 w 255"/>
                <a:gd name="T9" fmla="*/ 0 h 255"/>
                <a:gd name="T10" fmla="*/ 475964 w 255"/>
                <a:gd name="T11" fmla="*/ 906954 h 255"/>
                <a:gd name="T12" fmla="*/ 48721 w 255"/>
                <a:gd name="T13" fmla="*/ 475964 h 255"/>
                <a:gd name="T14" fmla="*/ 475964 w 255"/>
                <a:gd name="T15" fmla="*/ 48721 h 255"/>
                <a:gd name="T16" fmla="*/ 906954 w 255"/>
                <a:gd name="T17" fmla="*/ 475964 h 255"/>
                <a:gd name="T18" fmla="*/ 475964 w 255"/>
                <a:gd name="T19" fmla="*/ 906954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5"/>
                <a:gd name="T31" fmla="*/ 0 h 255"/>
                <a:gd name="T32" fmla="*/ 255 w 255"/>
                <a:gd name="T33" fmla="*/ 255 h 2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5" h="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6" name="Freeform 1789"/>
            <p:cNvSpPr>
              <a:spLocks noChangeArrowheads="1"/>
            </p:cNvSpPr>
            <p:nvPr/>
          </p:nvSpPr>
          <p:spPr bwMode="auto">
            <a:xfrm>
              <a:off x="904875" y="1522413"/>
              <a:ext cx="404813" cy="390525"/>
            </a:xfrm>
            <a:custGeom>
              <a:avLst/>
              <a:gdLst>
                <a:gd name="T0" fmla="*/ 119945 w 108"/>
                <a:gd name="T1" fmla="*/ 390525 h 104"/>
                <a:gd name="T2" fmla="*/ 194910 w 108"/>
                <a:gd name="T3" fmla="*/ 300404 h 104"/>
                <a:gd name="T4" fmla="*/ 404813 w 108"/>
                <a:gd name="T5" fmla="*/ 172732 h 104"/>
                <a:gd name="T6" fmla="*/ 202407 w 108"/>
                <a:gd name="T7" fmla="*/ 0 h 104"/>
                <a:gd name="T8" fmla="*/ 0 w 108"/>
                <a:gd name="T9" fmla="*/ 202773 h 104"/>
                <a:gd name="T10" fmla="*/ 119945 w 108"/>
                <a:gd name="T11" fmla="*/ 390525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7" name="TextBox 682"/>
            <p:cNvSpPr>
              <a:spLocks noChangeArrowheads="1"/>
            </p:cNvSpPr>
            <p:nvPr/>
          </p:nvSpPr>
          <p:spPr bwMode="auto">
            <a:xfrm>
              <a:off x="931863" y="1512888"/>
              <a:ext cx="31771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FZSJ-YANGGNH" panose="02010600010101010101" pitchFamily="2" charset="-122"/>
                  <a:ea typeface="FZSJ-YANGGNH" panose="02010600010101010101" pitchFamily="2" charset="-122"/>
                </a:rPr>
                <a:t>A.</a:t>
              </a:r>
              <a:endParaRPr lang="zh-CN" altLang="en-US" sz="1600" dirty="0">
                <a:solidFill>
                  <a:schemeClr val="accent2"/>
                </a:solidFill>
                <a:latin typeface="FZSJ-YANGGNH" panose="02010600010101010101" pitchFamily="2" charset="-122"/>
                <a:ea typeface="FZSJ-YANGGNH" panose="02010600010101010101" pitchFamily="2" charset="-122"/>
              </a:endParaRPr>
            </a:p>
          </p:txBody>
        </p:sp>
        <p:sp>
          <p:nvSpPr>
            <p:cNvPr id="18" name="矩形 1"/>
            <p:cNvSpPr>
              <a:spLocks noChangeArrowheads="1"/>
            </p:cNvSpPr>
            <p:nvPr/>
          </p:nvSpPr>
          <p:spPr bwMode="auto">
            <a:xfrm>
              <a:off x="989013" y="1911350"/>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a:t>
              </a:r>
              <a:endParaRPr lang="zh-CN" altLang="en-US" sz="800" dirty="0">
                <a:solidFill>
                  <a:schemeClr val="accent1"/>
                </a:solidFill>
                <a:latin typeface="FZSJ-YANGGNH" panose="02010600010101010101" pitchFamily="2" charset="-122"/>
                <a:ea typeface="FZSJ-YANGGNH" panose="02010600010101010101" pitchFamily="2" charset="-122"/>
              </a:endParaRPr>
            </a:p>
          </p:txBody>
        </p:sp>
      </p:grpSp>
      <p:grpSp>
        <p:nvGrpSpPr>
          <p:cNvPr id="19" name="组合 18"/>
          <p:cNvGrpSpPr/>
          <p:nvPr/>
        </p:nvGrpSpPr>
        <p:grpSpPr>
          <a:xfrm>
            <a:off x="3128963" y="919163"/>
            <a:ext cx="1120775" cy="1225550"/>
            <a:chOff x="3128963" y="919163"/>
            <a:chExt cx="1120775" cy="1225550"/>
          </a:xfrm>
        </p:grpSpPr>
        <p:sp>
          <p:nvSpPr>
            <p:cNvPr id="20" name="Freeform 12"/>
            <p:cNvSpPr>
              <a:spLocks noEditPoints="1" noChangeArrowheads="1"/>
            </p:cNvSpPr>
            <p:nvPr/>
          </p:nvSpPr>
          <p:spPr bwMode="auto">
            <a:xfrm>
              <a:off x="3128963" y="1042988"/>
              <a:ext cx="1106487" cy="1101725"/>
            </a:xfrm>
            <a:custGeom>
              <a:avLst/>
              <a:gdLst>
                <a:gd name="T0" fmla="*/ 555119 w 295"/>
                <a:gd name="T1" fmla="*/ 0 h 294"/>
                <a:gd name="T2" fmla="*/ 0 w 295"/>
                <a:gd name="T3" fmla="*/ 550863 h 294"/>
                <a:gd name="T4" fmla="*/ 555119 w 295"/>
                <a:gd name="T5" fmla="*/ 1101725 h 294"/>
                <a:gd name="T6" fmla="*/ 1106487 w 295"/>
                <a:gd name="T7" fmla="*/ 550863 h 294"/>
                <a:gd name="T8" fmla="*/ 555119 w 295"/>
                <a:gd name="T9" fmla="*/ 0 h 294"/>
                <a:gd name="T10" fmla="*/ 555119 w 295"/>
                <a:gd name="T11" fmla="*/ 1049262 h 294"/>
                <a:gd name="T12" fmla="*/ 56262 w 295"/>
                <a:gd name="T13" fmla="*/ 550863 h 294"/>
                <a:gd name="T14" fmla="*/ 555119 w 295"/>
                <a:gd name="T15" fmla="*/ 52463 h 294"/>
                <a:gd name="T16" fmla="*/ 1050225 w 295"/>
                <a:gd name="T17" fmla="*/ 550863 h 294"/>
                <a:gd name="T18" fmla="*/ 555119 w 295"/>
                <a:gd name="T19" fmla="*/ 1049262 h 2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294"/>
                <a:gd name="T32" fmla="*/ 295 w 295"/>
                <a:gd name="T33" fmla="*/ 294 h 2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294">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21" name="Freeform 1791"/>
            <p:cNvSpPr>
              <a:spLocks noChangeArrowheads="1"/>
            </p:cNvSpPr>
            <p:nvPr/>
          </p:nvSpPr>
          <p:spPr bwMode="auto">
            <a:xfrm>
              <a:off x="3844925" y="919163"/>
              <a:ext cx="404813" cy="388937"/>
            </a:xfrm>
            <a:custGeom>
              <a:avLst/>
              <a:gdLst>
                <a:gd name="T0" fmla="*/ 281120 w 108"/>
                <a:gd name="T1" fmla="*/ 388937 h 104"/>
                <a:gd name="T2" fmla="*/ 209903 w 108"/>
                <a:gd name="T3" fmla="*/ 299182 h 104"/>
                <a:gd name="T4" fmla="*/ 0 w 108"/>
                <a:gd name="T5" fmla="*/ 172030 h 104"/>
                <a:gd name="T6" fmla="*/ 202407 w 108"/>
                <a:gd name="T7" fmla="*/ 0 h 104"/>
                <a:gd name="T8" fmla="*/ 404813 w 108"/>
                <a:gd name="T9" fmla="*/ 201948 h 104"/>
                <a:gd name="T10" fmla="*/ 281120 w 108"/>
                <a:gd name="T11" fmla="*/ 388937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22" name="TextBox 682"/>
            <p:cNvSpPr>
              <a:spLocks noChangeArrowheads="1"/>
            </p:cNvSpPr>
            <p:nvPr/>
          </p:nvSpPr>
          <p:spPr bwMode="auto">
            <a:xfrm>
              <a:off x="3894138" y="919163"/>
              <a:ext cx="3048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FZSJ-YANGGNH" panose="02010600010101010101" pitchFamily="2" charset="-122"/>
                  <a:ea typeface="FZSJ-YANGGNH" panose="02010600010101010101" pitchFamily="2" charset="-122"/>
                </a:rPr>
                <a:t>B.</a:t>
              </a:r>
              <a:endParaRPr lang="zh-CN" altLang="en-US" sz="1600" dirty="0">
                <a:solidFill>
                  <a:schemeClr val="accent2"/>
                </a:solidFill>
                <a:latin typeface="FZSJ-YANGGNH" panose="02010600010101010101" pitchFamily="2" charset="-122"/>
                <a:ea typeface="FZSJ-YANGGNH" panose="02010600010101010101" pitchFamily="2" charset="-122"/>
              </a:endParaRPr>
            </a:p>
          </p:txBody>
        </p:sp>
        <p:sp>
          <p:nvSpPr>
            <p:cNvPr id="23" name="矩形 1"/>
            <p:cNvSpPr>
              <a:spLocks noChangeArrowheads="1"/>
            </p:cNvSpPr>
            <p:nvPr/>
          </p:nvSpPr>
          <p:spPr bwMode="auto">
            <a:xfrm>
              <a:off x="3255963" y="1338263"/>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a:t>
              </a:r>
              <a:endParaRPr lang="zh-CN" altLang="en-US" sz="800" dirty="0">
                <a:solidFill>
                  <a:schemeClr val="accent1"/>
                </a:solidFill>
                <a:latin typeface="FZSJ-YANGGNH" panose="02010600010101010101" pitchFamily="2" charset="-122"/>
                <a:ea typeface="FZSJ-YANGGNH" panose="02010600010101010101" pitchFamily="2" charset="-122"/>
              </a:endParaRPr>
            </a:p>
          </p:txBody>
        </p:sp>
      </p:grpSp>
      <p:grpSp>
        <p:nvGrpSpPr>
          <p:cNvPr id="24" name="组合 23"/>
          <p:cNvGrpSpPr/>
          <p:nvPr/>
        </p:nvGrpSpPr>
        <p:grpSpPr>
          <a:xfrm>
            <a:off x="3759200" y="2266950"/>
            <a:ext cx="782885" cy="909638"/>
            <a:chOff x="3759200" y="2266950"/>
            <a:chExt cx="782885" cy="909638"/>
          </a:xfrm>
        </p:grpSpPr>
        <p:sp>
          <p:nvSpPr>
            <p:cNvPr id="25" name="Freeform 13"/>
            <p:cNvSpPr>
              <a:spLocks noEditPoints="1" noChangeArrowheads="1"/>
            </p:cNvSpPr>
            <p:nvPr/>
          </p:nvSpPr>
          <p:spPr bwMode="auto">
            <a:xfrm>
              <a:off x="3759200" y="2419350"/>
              <a:ext cx="757238" cy="757238"/>
            </a:xfrm>
            <a:custGeom>
              <a:avLst/>
              <a:gdLst>
                <a:gd name="T0" fmla="*/ 378619 w 202"/>
                <a:gd name="T1" fmla="*/ 0 h 202"/>
                <a:gd name="T2" fmla="*/ 0 w 202"/>
                <a:gd name="T3" fmla="*/ 378619 h 202"/>
                <a:gd name="T4" fmla="*/ 378619 w 202"/>
                <a:gd name="T5" fmla="*/ 757238 h 202"/>
                <a:gd name="T6" fmla="*/ 757238 w 202"/>
                <a:gd name="T7" fmla="*/ 378619 h 202"/>
                <a:gd name="T8" fmla="*/ 378619 w 202"/>
                <a:gd name="T9" fmla="*/ 0 h 202"/>
                <a:gd name="T10" fmla="*/ 378619 w 202"/>
                <a:gd name="T11" fmla="*/ 719751 h 202"/>
                <a:gd name="T12" fmla="*/ 37487 w 202"/>
                <a:gd name="T13" fmla="*/ 378619 h 202"/>
                <a:gd name="T14" fmla="*/ 378619 w 202"/>
                <a:gd name="T15" fmla="*/ 37487 h 202"/>
                <a:gd name="T16" fmla="*/ 719751 w 202"/>
                <a:gd name="T17" fmla="*/ 378619 h 202"/>
                <a:gd name="T18" fmla="*/ 378619 w 202"/>
                <a:gd name="T19" fmla="*/ 71975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2"/>
                <a:gd name="T31" fmla="*/ 0 h 202"/>
                <a:gd name="T32" fmla="*/ 202 w 202"/>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2" h="202">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26" name="Freeform 1792"/>
            <p:cNvSpPr>
              <a:spLocks noChangeArrowheads="1"/>
            </p:cNvSpPr>
            <p:nvPr/>
          </p:nvSpPr>
          <p:spPr bwMode="auto">
            <a:xfrm>
              <a:off x="4227513" y="2306638"/>
              <a:ext cx="311150" cy="300037"/>
            </a:xfrm>
            <a:custGeom>
              <a:avLst/>
              <a:gdLst>
                <a:gd name="T0" fmla="*/ 217430 w 83"/>
                <a:gd name="T1" fmla="*/ 300037 h 80"/>
                <a:gd name="T2" fmla="*/ 161198 w 83"/>
                <a:gd name="T3" fmla="*/ 232529 h 80"/>
                <a:gd name="T4" fmla="*/ 0 w 83"/>
                <a:gd name="T5" fmla="*/ 131266 h 80"/>
                <a:gd name="T6" fmla="*/ 157449 w 83"/>
                <a:gd name="T7" fmla="*/ 0 h 80"/>
                <a:gd name="T8" fmla="*/ 311150 w 83"/>
                <a:gd name="T9" fmla="*/ 157519 h 80"/>
                <a:gd name="T10" fmla="*/ 217430 w 83"/>
                <a:gd name="T11" fmla="*/ 300037 h 80"/>
                <a:gd name="T12" fmla="*/ 0 60000 65536"/>
                <a:gd name="T13" fmla="*/ 0 60000 65536"/>
                <a:gd name="T14" fmla="*/ 0 60000 65536"/>
                <a:gd name="T15" fmla="*/ 0 60000 65536"/>
                <a:gd name="T16" fmla="*/ 0 60000 65536"/>
                <a:gd name="T17" fmla="*/ 0 60000 65536"/>
                <a:gd name="T18" fmla="*/ 0 w 83"/>
                <a:gd name="T19" fmla="*/ 0 h 80"/>
                <a:gd name="T20" fmla="*/ 83 w 83"/>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3" h="80">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27" name="TextBox 682"/>
            <p:cNvSpPr>
              <a:spLocks noChangeArrowheads="1"/>
            </p:cNvSpPr>
            <p:nvPr/>
          </p:nvSpPr>
          <p:spPr bwMode="auto">
            <a:xfrm>
              <a:off x="4221163" y="2266950"/>
              <a:ext cx="3209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FZSJ-YANGGNH" panose="02010600010101010101" pitchFamily="2" charset="-122"/>
                  <a:ea typeface="FZSJ-YANGGNH" panose="02010600010101010101" pitchFamily="2" charset="-122"/>
                </a:rPr>
                <a:t>C.</a:t>
              </a:r>
              <a:endParaRPr lang="zh-CN" altLang="en-US" sz="1600" dirty="0">
                <a:solidFill>
                  <a:schemeClr val="accent2"/>
                </a:solidFill>
                <a:latin typeface="FZSJ-YANGGNH" panose="02010600010101010101" pitchFamily="2" charset="-122"/>
                <a:ea typeface="FZSJ-YANGGNH" panose="02010600010101010101" pitchFamily="2" charset="-122"/>
              </a:endParaRPr>
            </a:p>
          </p:txBody>
        </p:sp>
        <p:sp>
          <p:nvSpPr>
            <p:cNvPr id="28" name="矩形 1"/>
            <p:cNvSpPr>
              <a:spLocks noChangeArrowheads="1"/>
            </p:cNvSpPr>
            <p:nvPr/>
          </p:nvSpPr>
          <p:spPr bwMode="auto">
            <a:xfrm>
              <a:off x="3770313" y="2582863"/>
              <a:ext cx="7302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a:t>
              </a:r>
              <a:r>
                <a:rPr lang="zh-CN" altLang="en-US" sz="800" dirty="0" smtClean="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说明</a:t>
              </a:r>
              <a:endParaRPr lang="zh-CN" altLang="en-US" sz="800" dirty="0">
                <a:solidFill>
                  <a:schemeClr val="accent1"/>
                </a:solidFill>
                <a:latin typeface="FZSJ-YANGGNH" panose="02010600010101010101" pitchFamily="2" charset="-122"/>
                <a:ea typeface="FZSJ-YANGGNH" panose="02010600010101010101" pitchFamily="2" charset="-122"/>
              </a:endParaRPr>
            </a:p>
          </p:txBody>
        </p:sp>
      </p:grpSp>
      <p:grpSp>
        <p:nvGrpSpPr>
          <p:cNvPr id="29" name="组合 28"/>
          <p:cNvGrpSpPr/>
          <p:nvPr/>
        </p:nvGrpSpPr>
        <p:grpSpPr>
          <a:xfrm>
            <a:off x="3000375" y="3251200"/>
            <a:ext cx="1122363" cy="1252538"/>
            <a:chOff x="3000375" y="3251200"/>
            <a:chExt cx="1122363" cy="1252538"/>
          </a:xfrm>
        </p:grpSpPr>
        <p:sp>
          <p:nvSpPr>
            <p:cNvPr id="30" name="Freeform 14"/>
            <p:cNvSpPr>
              <a:spLocks noEditPoints="1" noChangeArrowheads="1"/>
            </p:cNvSpPr>
            <p:nvPr/>
          </p:nvSpPr>
          <p:spPr bwMode="auto">
            <a:xfrm>
              <a:off x="3000375" y="3386138"/>
              <a:ext cx="1122363" cy="1117600"/>
            </a:xfrm>
            <a:custGeom>
              <a:avLst/>
              <a:gdLst>
                <a:gd name="T0" fmla="*/ 559305 w 299"/>
                <a:gd name="T1" fmla="*/ 0 h 298"/>
                <a:gd name="T2" fmla="*/ 0 w 299"/>
                <a:gd name="T3" fmla="*/ 558800 h 298"/>
                <a:gd name="T4" fmla="*/ 559305 w 299"/>
                <a:gd name="T5" fmla="*/ 1117600 h 298"/>
                <a:gd name="T6" fmla="*/ 1122363 w 299"/>
                <a:gd name="T7" fmla="*/ 558800 h 298"/>
                <a:gd name="T8" fmla="*/ 559305 w 299"/>
                <a:gd name="T9" fmla="*/ 0 h 298"/>
                <a:gd name="T10" fmla="*/ 559305 w 299"/>
                <a:gd name="T11" fmla="*/ 1065095 h 298"/>
                <a:gd name="T12" fmla="*/ 56306 w 299"/>
                <a:gd name="T13" fmla="*/ 558800 h 298"/>
                <a:gd name="T14" fmla="*/ 559305 w 299"/>
                <a:gd name="T15" fmla="*/ 56255 h 298"/>
                <a:gd name="T16" fmla="*/ 1066057 w 299"/>
                <a:gd name="T17" fmla="*/ 558800 h 298"/>
                <a:gd name="T18" fmla="*/ 559305 w 299"/>
                <a:gd name="T19" fmla="*/ 1065095 h 2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9"/>
                <a:gd name="T31" fmla="*/ 0 h 298"/>
                <a:gd name="T32" fmla="*/ 299 w 299"/>
                <a:gd name="T33" fmla="*/ 298 h 2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9" h="298">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31" name="Freeform 1790"/>
            <p:cNvSpPr>
              <a:spLocks noChangeArrowheads="1"/>
            </p:cNvSpPr>
            <p:nvPr/>
          </p:nvSpPr>
          <p:spPr bwMode="auto">
            <a:xfrm>
              <a:off x="3717925" y="3251200"/>
              <a:ext cx="404813" cy="393700"/>
            </a:xfrm>
            <a:custGeom>
              <a:avLst/>
              <a:gdLst>
                <a:gd name="T0" fmla="*/ 281120 w 108"/>
                <a:gd name="T1" fmla="*/ 393700 h 105"/>
                <a:gd name="T2" fmla="*/ 206155 w 108"/>
                <a:gd name="T3" fmla="*/ 303711 h 105"/>
                <a:gd name="T4" fmla="*/ 0 w 108"/>
                <a:gd name="T5" fmla="*/ 172478 h 105"/>
                <a:gd name="T6" fmla="*/ 198658 w 108"/>
                <a:gd name="T7" fmla="*/ 0 h 105"/>
                <a:gd name="T8" fmla="*/ 404813 w 108"/>
                <a:gd name="T9" fmla="*/ 206224 h 105"/>
                <a:gd name="T10" fmla="*/ 281120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32" name="TextBox 682"/>
            <p:cNvSpPr>
              <a:spLocks noChangeArrowheads="1"/>
            </p:cNvSpPr>
            <p:nvPr/>
          </p:nvSpPr>
          <p:spPr bwMode="auto">
            <a:xfrm>
              <a:off x="3717925" y="3251200"/>
              <a:ext cx="3225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FZSJ-YANGGNH" panose="02010600010101010101" pitchFamily="2" charset="-122"/>
                  <a:ea typeface="FZSJ-YANGGNH" panose="02010600010101010101" pitchFamily="2" charset="-122"/>
                </a:rPr>
                <a:t>D.</a:t>
              </a:r>
              <a:endParaRPr lang="zh-CN" altLang="en-US" sz="1600" dirty="0">
                <a:solidFill>
                  <a:schemeClr val="accent2"/>
                </a:solidFill>
                <a:latin typeface="FZSJ-YANGGNH" panose="02010600010101010101" pitchFamily="2" charset="-122"/>
                <a:ea typeface="FZSJ-YANGGNH" panose="02010600010101010101" pitchFamily="2" charset="-122"/>
              </a:endParaRPr>
            </a:p>
          </p:txBody>
        </p:sp>
        <p:sp>
          <p:nvSpPr>
            <p:cNvPr id="33" name="矩形 1"/>
            <p:cNvSpPr>
              <a:spLocks noChangeArrowheads="1"/>
            </p:cNvSpPr>
            <p:nvPr/>
          </p:nvSpPr>
          <p:spPr bwMode="auto">
            <a:xfrm>
              <a:off x="3144838" y="3697288"/>
              <a:ext cx="809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a:t>
              </a:r>
              <a:endParaRPr lang="zh-CN" altLang="en-US" sz="800" dirty="0">
                <a:solidFill>
                  <a:schemeClr val="accent1"/>
                </a:solidFill>
                <a:latin typeface="FZSJ-YANGGNH" panose="02010600010101010101" pitchFamily="2" charset="-122"/>
                <a:ea typeface="FZSJ-YANGGNH" panose="02010600010101010101" pitchFamily="2" charset="-122"/>
              </a:endParaRPr>
            </a:p>
          </p:txBody>
        </p:sp>
      </p:grpSp>
      <p:grpSp>
        <p:nvGrpSpPr>
          <p:cNvPr id="34" name="组合 33"/>
          <p:cNvGrpSpPr/>
          <p:nvPr/>
        </p:nvGrpSpPr>
        <p:grpSpPr>
          <a:xfrm>
            <a:off x="1389063" y="3322638"/>
            <a:ext cx="1139825" cy="1247775"/>
            <a:chOff x="1389063" y="3322638"/>
            <a:chExt cx="1139825" cy="1247775"/>
          </a:xfrm>
        </p:grpSpPr>
        <p:sp>
          <p:nvSpPr>
            <p:cNvPr id="35" name="Freeform 10"/>
            <p:cNvSpPr>
              <a:spLocks noEditPoints="1" noChangeArrowheads="1"/>
            </p:cNvSpPr>
            <p:nvPr/>
          </p:nvSpPr>
          <p:spPr bwMode="auto">
            <a:xfrm>
              <a:off x="1389063" y="3430588"/>
              <a:ext cx="1139825" cy="1139825"/>
            </a:xfrm>
            <a:custGeom>
              <a:avLst/>
              <a:gdLst>
                <a:gd name="T0" fmla="*/ 569913 w 304"/>
                <a:gd name="T1" fmla="*/ 0 h 304"/>
                <a:gd name="T2" fmla="*/ 0 w 304"/>
                <a:gd name="T3" fmla="*/ 569913 h 304"/>
                <a:gd name="T4" fmla="*/ 569913 w 304"/>
                <a:gd name="T5" fmla="*/ 1139825 h 304"/>
                <a:gd name="T6" fmla="*/ 1139825 w 304"/>
                <a:gd name="T7" fmla="*/ 569913 h 304"/>
                <a:gd name="T8" fmla="*/ 569913 w 304"/>
                <a:gd name="T9" fmla="*/ 0 h 304"/>
                <a:gd name="T10" fmla="*/ 569913 w 304"/>
                <a:gd name="T11" fmla="*/ 1083584 h 304"/>
                <a:gd name="T12" fmla="*/ 56241 w 304"/>
                <a:gd name="T13" fmla="*/ 569913 h 304"/>
                <a:gd name="T14" fmla="*/ 569913 w 304"/>
                <a:gd name="T15" fmla="*/ 56241 h 304"/>
                <a:gd name="T16" fmla="*/ 1083584 w 304"/>
                <a:gd name="T17" fmla="*/ 569913 h 304"/>
                <a:gd name="T18" fmla="*/ 569913 w 304"/>
                <a:gd name="T19" fmla="*/ 1083584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4"/>
                <a:gd name="T31" fmla="*/ 0 h 304"/>
                <a:gd name="T32" fmla="*/ 304 w 304"/>
                <a:gd name="T33" fmla="*/ 304 h 3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36" name="Freeform 1788"/>
            <p:cNvSpPr>
              <a:spLocks noChangeArrowheads="1"/>
            </p:cNvSpPr>
            <p:nvPr/>
          </p:nvSpPr>
          <p:spPr bwMode="auto">
            <a:xfrm>
              <a:off x="1389063" y="3322638"/>
              <a:ext cx="404812" cy="393700"/>
            </a:xfrm>
            <a:custGeom>
              <a:avLst/>
              <a:gdLst>
                <a:gd name="T0" fmla="*/ 123693 w 108"/>
                <a:gd name="T1" fmla="*/ 393700 h 105"/>
                <a:gd name="T2" fmla="*/ 194909 w 108"/>
                <a:gd name="T3" fmla="*/ 303711 h 105"/>
                <a:gd name="T4" fmla="*/ 404812 w 108"/>
                <a:gd name="T5" fmla="*/ 172478 h 105"/>
                <a:gd name="T6" fmla="*/ 202406 w 108"/>
                <a:gd name="T7" fmla="*/ 0 h 105"/>
                <a:gd name="T8" fmla="*/ 0 w 108"/>
                <a:gd name="T9" fmla="*/ 206224 h 105"/>
                <a:gd name="T10" fmla="*/ 123693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37" name="TextBox 682"/>
            <p:cNvSpPr>
              <a:spLocks noChangeArrowheads="1"/>
            </p:cNvSpPr>
            <p:nvPr/>
          </p:nvSpPr>
          <p:spPr bwMode="auto">
            <a:xfrm>
              <a:off x="1397000" y="3324225"/>
              <a:ext cx="3064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FZSJ-YANGGNH" panose="02010600010101010101" pitchFamily="2" charset="-122"/>
                  <a:ea typeface="FZSJ-YANGGNH" panose="02010600010101010101" pitchFamily="2" charset="-122"/>
                </a:rPr>
                <a:t>E.</a:t>
              </a:r>
              <a:endParaRPr lang="zh-CN" altLang="en-US" sz="1600" dirty="0">
                <a:solidFill>
                  <a:schemeClr val="accent2"/>
                </a:solidFill>
                <a:latin typeface="FZSJ-YANGGNH" panose="02010600010101010101" pitchFamily="2" charset="-122"/>
                <a:ea typeface="FZSJ-YANGGNH" panose="02010600010101010101" pitchFamily="2" charset="-122"/>
              </a:endParaRPr>
            </a:p>
          </p:txBody>
        </p:sp>
        <p:sp>
          <p:nvSpPr>
            <p:cNvPr id="38" name="矩形 1"/>
            <p:cNvSpPr>
              <a:spLocks noChangeArrowheads="1"/>
            </p:cNvSpPr>
            <p:nvPr/>
          </p:nvSpPr>
          <p:spPr bwMode="auto">
            <a:xfrm>
              <a:off x="1533525" y="3732213"/>
              <a:ext cx="806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a:t>
              </a:r>
              <a:endParaRPr lang="zh-CN" altLang="en-US" sz="800" dirty="0">
                <a:solidFill>
                  <a:schemeClr val="accent1"/>
                </a:solidFill>
                <a:latin typeface="FZSJ-YANGGNH" panose="02010600010101010101" pitchFamily="2" charset="-122"/>
                <a:ea typeface="FZSJ-YANGGNH" panose="02010600010101010101" pitchFamily="2" charset="-122"/>
              </a:endParaRPr>
            </a:p>
          </p:txBody>
        </p:sp>
      </p:grpSp>
      <p:sp>
        <p:nvSpPr>
          <p:cNvPr id="39" name="直接连接符 1843"/>
          <p:cNvSpPr>
            <a:spLocks noChangeShapeType="1"/>
          </p:cNvSpPr>
          <p:nvPr/>
        </p:nvSpPr>
        <p:spPr bwMode="auto">
          <a:xfrm>
            <a:off x="4911726" y="2700646"/>
            <a:ext cx="3771900" cy="1587"/>
          </a:xfrm>
          <a:prstGeom prst="line">
            <a:avLst/>
          </a:prstGeom>
          <a:noFill/>
          <a:ln w="12700">
            <a:solidFill>
              <a:schemeClr val="accent3"/>
            </a:solidFill>
            <a:bevel/>
            <a:headEnd/>
            <a:tailEnd/>
          </a:ln>
          <a:extLst>
            <a:ext uri="{909E8E84-426E-40DD-AFC4-6F175D3DCCD1}">
              <a14:hiddenFill xmlns:a14="http://schemas.microsoft.com/office/drawing/2010/main">
                <a:noFill/>
              </a14:hiddenFill>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10180058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animEffect transition="in" filter="fade">
                                      <p:cBhvr>
                                        <p:cTn id="29" dur="500"/>
                                        <p:tgtEl>
                                          <p:spTgt spid="12"/>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2" presetClass="entr" presetSubtype="2" fill="hold" grpId="0" nodeType="clickEffect">
                                  <p:stCondLst>
                                    <p:cond delay="0"/>
                                  </p:stCondLst>
                                  <p:childTnLst>
                                    <p:set>
                                      <p:cBhvr>
                                        <p:cTn id="53" dur="1" fill="hold">
                                          <p:stCondLst>
                                            <p:cond delay="0"/>
                                          </p:stCondLst>
                                        </p:cTn>
                                        <p:tgtEl>
                                          <p:spTgt spid="13"/>
                                        </p:tgtEl>
                                        <p:attrNameLst>
                                          <p:attrName>style.visibility</p:attrName>
                                        </p:attrNameLst>
                                      </p:cBhvr>
                                      <p:to>
                                        <p:strVal val="visible"/>
                                      </p:to>
                                    </p:set>
                                    <p:anim calcmode="lin" valueType="num">
                                      <p:cBhvr additive="base">
                                        <p:cTn id="54" dur="500" fill="hold"/>
                                        <p:tgtEl>
                                          <p:spTgt spid="13"/>
                                        </p:tgtEl>
                                        <p:attrNameLst>
                                          <p:attrName>ppt_x</p:attrName>
                                        </p:attrNameLst>
                                      </p:cBhvr>
                                      <p:tavLst>
                                        <p:tav tm="0">
                                          <p:val>
                                            <p:strVal val="1+#ppt_w/2"/>
                                          </p:val>
                                        </p:tav>
                                        <p:tav tm="100000">
                                          <p:val>
                                            <p:strVal val="#ppt_x"/>
                                          </p:val>
                                        </p:tav>
                                      </p:tavLst>
                                    </p:anim>
                                    <p:anim calcmode="lin" valueType="num">
                                      <p:cBhvr additive="base">
                                        <p:cTn id="55" dur="500" fill="hold"/>
                                        <p:tgtEl>
                                          <p:spTgt spid="13"/>
                                        </p:tgtEl>
                                        <p:attrNameLst>
                                          <p:attrName>ppt_y</p:attrName>
                                        </p:attrNameLst>
                                      </p:cBhvr>
                                      <p:tavLst>
                                        <p:tav tm="0">
                                          <p:val>
                                            <p:strVal val="#ppt_y"/>
                                          </p:val>
                                        </p:tav>
                                        <p:tav tm="100000">
                                          <p:val>
                                            <p:strVal val="#ppt_y"/>
                                          </p:val>
                                        </p:tav>
                                      </p:tavLst>
                                    </p:anim>
                                  </p:childTnLst>
                                </p:cTn>
                              </p:par>
                              <p:par>
                                <p:cTn id="56" presetID="2" presetClass="entr" presetSubtype="2" fill="hold" grpId="0" nodeType="withEffect">
                                  <p:stCondLst>
                                    <p:cond delay="0"/>
                                  </p:stCondLst>
                                  <p:childTnLst>
                                    <p:set>
                                      <p:cBhvr>
                                        <p:cTn id="57" dur="1" fill="hold">
                                          <p:stCondLst>
                                            <p:cond delay="0"/>
                                          </p:stCondLst>
                                        </p:cTn>
                                        <p:tgtEl>
                                          <p:spTgt spid="39"/>
                                        </p:tgtEl>
                                        <p:attrNameLst>
                                          <p:attrName>style.visibility</p:attrName>
                                        </p:attrNameLst>
                                      </p:cBhvr>
                                      <p:to>
                                        <p:strVal val="visible"/>
                                      </p:to>
                                    </p:set>
                                    <p:anim calcmode="lin" valueType="num">
                                      <p:cBhvr additive="base">
                                        <p:cTn id="58" dur="500" fill="hold"/>
                                        <p:tgtEl>
                                          <p:spTgt spid="39"/>
                                        </p:tgtEl>
                                        <p:attrNameLst>
                                          <p:attrName>ppt_x</p:attrName>
                                        </p:attrNameLst>
                                      </p:cBhvr>
                                      <p:tavLst>
                                        <p:tav tm="0">
                                          <p:val>
                                            <p:strVal val="1+#ppt_w/2"/>
                                          </p:val>
                                        </p:tav>
                                        <p:tav tm="100000">
                                          <p:val>
                                            <p:strVal val="#ppt_x"/>
                                          </p:val>
                                        </p:tav>
                                      </p:tavLst>
                                    </p:anim>
                                    <p:anim calcmode="lin" valueType="num">
                                      <p:cBhvr additive="base">
                                        <p:cTn id="59"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3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rot="20362696" flipV="1">
            <a:off x="3690938" y="2108597"/>
            <a:ext cx="1818085" cy="814388"/>
          </a:xfrm>
          <a:prstGeom prst="parallelogram">
            <a:avLst>
              <a:gd name="adj" fmla="val 6895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sp>
        <p:nvSpPr>
          <p:cNvPr id="9" name="平行四边形 8"/>
          <p:cNvSpPr/>
          <p:nvPr/>
        </p:nvSpPr>
        <p:spPr>
          <a:xfrm rot="5400000">
            <a:off x="3198614" y="2790229"/>
            <a:ext cx="1504950" cy="872729"/>
          </a:xfrm>
          <a:prstGeom prst="parallelogram">
            <a:avLst>
              <a:gd name="adj" fmla="val 6895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sp>
        <p:nvSpPr>
          <p:cNvPr id="10" name="平行四边形 9"/>
          <p:cNvSpPr/>
          <p:nvPr/>
        </p:nvSpPr>
        <p:spPr>
          <a:xfrm rot="5400000" flipH="1">
            <a:off x="4363046" y="2748558"/>
            <a:ext cx="1341834" cy="1119188"/>
          </a:xfrm>
          <a:prstGeom prst="parallelogram">
            <a:avLst>
              <a:gd name="adj" fmla="val 3832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cxnSp>
        <p:nvCxnSpPr>
          <p:cNvPr id="11" name="直接连接符 10"/>
          <p:cNvCxnSpPr/>
          <p:nvPr/>
        </p:nvCxnSpPr>
        <p:spPr>
          <a:xfrm flipV="1">
            <a:off x="4627960" y="1632347"/>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033963" y="3226594"/>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246835" y="322659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4333875" y="1042988"/>
            <a:ext cx="589360" cy="589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sp>
        <p:nvSpPr>
          <p:cNvPr id="15" name="椭圆 14"/>
          <p:cNvSpPr/>
          <p:nvPr/>
        </p:nvSpPr>
        <p:spPr bwMode="auto">
          <a:xfrm>
            <a:off x="2701529" y="3443288"/>
            <a:ext cx="589359" cy="58816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sp>
        <p:nvSpPr>
          <p:cNvPr id="16" name="椭圆 15"/>
          <p:cNvSpPr/>
          <p:nvPr/>
        </p:nvSpPr>
        <p:spPr bwMode="auto">
          <a:xfrm>
            <a:off x="5844779" y="3554016"/>
            <a:ext cx="589359" cy="5893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FZSJ-YANGGNH" panose="02010600010101010101" pitchFamily="2" charset="-122"/>
              <a:ea typeface="FZSJ-YANGGNH" panose="02010600010101010101" pitchFamily="2" charset="-122"/>
            </a:endParaRPr>
          </a:p>
        </p:txBody>
      </p:sp>
      <p:sp>
        <p:nvSpPr>
          <p:cNvPr id="17" name="文本框 16"/>
          <p:cNvSpPr txBox="1">
            <a:spLocks noChangeArrowheads="1"/>
          </p:cNvSpPr>
          <p:nvPr/>
        </p:nvSpPr>
        <p:spPr bwMode="auto">
          <a:xfrm>
            <a:off x="4936332" y="877492"/>
            <a:ext cx="15798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1"/>
                </a:solidFill>
                <a:latin typeface="FZSJ-YANGGNH" panose="02010600010101010101" pitchFamily="2" charset="-122"/>
                <a:ea typeface="FZSJ-YANGGNH" panose="02010600010101010101" pitchFamily="2" charset="-122"/>
              </a:rPr>
              <a:t>标题文字</a:t>
            </a:r>
            <a:endParaRPr lang="zh-CN" altLang="en-US" sz="1400" b="1" dirty="0">
              <a:solidFill>
                <a:schemeClr val="bg1"/>
              </a:solidFill>
              <a:latin typeface="FZSJ-YANGGNH" panose="02010600010101010101" pitchFamily="2" charset="-122"/>
              <a:ea typeface="FZSJ-YANGGNH" panose="02010600010101010101" pitchFamily="2" charset="-122"/>
            </a:endParaRPr>
          </a:p>
        </p:txBody>
      </p:sp>
      <p:sp>
        <p:nvSpPr>
          <p:cNvPr id="18" name="TextBox 35"/>
          <p:cNvSpPr txBox="1">
            <a:spLocks noChangeArrowheads="1"/>
          </p:cNvSpPr>
          <p:nvPr/>
        </p:nvSpPr>
        <p:spPr bwMode="auto">
          <a:xfrm>
            <a:off x="4949429" y="1164432"/>
            <a:ext cx="27158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FZSJ-YANGGNH" panose="02010600010101010101" pitchFamily="2" charset="-122"/>
              <a:ea typeface="FZSJ-YANGGNH" panose="02010600010101010101" pitchFamily="2" charset="-122"/>
            </a:endParaRPr>
          </a:p>
        </p:txBody>
      </p:sp>
      <p:sp>
        <p:nvSpPr>
          <p:cNvPr id="19" name="文本框 18"/>
          <p:cNvSpPr txBox="1">
            <a:spLocks noChangeArrowheads="1"/>
          </p:cNvSpPr>
          <p:nvPr/>
        </p:nvSpPr>
        <p:spPr bwMode="auto">
          <a:xfrm>
            <a:off x="6073378" y="2465785"/>
            <a:ext cx="9655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latin typeface="FZSJ-YANGGNH" panose="02010600010101010101" pitchFamily="2" charset="-122"/>
                <a:ea typeface="FZSJ-YANGGNH" panose="02010600010101010101" pitchFamily="2" charset="-122"/>
              </a:rPr>
              <a:t>标题文字</a:t>
            </a:r>
            <a:endParaRPr lang="zh-CN" altLang="en-US" sz="1400" b="1" dirty="0">
              <a:latin typeface="FZSJ-YANGGNH" panose="02010600010101010101" pitchFamily="2" charset="-122"/>
              <a:ea typeface="FZSJ-YANGGNH" panose="02010600010101010101" pitchFamily="2" charset="-122"/>
            </a:endParaRPr>
          </a:p>
        </p:txBody>
      </p:sp>
      <p:sp>
        <p:nvSpPr>
          <p:cNvPr id="20" name="TextBox 35"/>
          <p:cNvSpPr txBox="1">
            <a:spLocks noChangeArrowheads="1"/>
          </p:cNvSpPr>
          <p:nvPr/>
        </p:nvSpPr>
        <p:spPr bwMode="auto">
          <a:xfrm>
            <a:off x="6073379" y="2771776"/>
            <a:ext cx="21038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说明，在此录入上述图表的综合描述说明，在此录入上述图表的综合描述说明，</a:t>
            </a:r>
            <a:endParaRPr lang="zh-CN" altLang="en-US" sz="900" dirty="0">
              <a:solidFill>
                <a:schemeClr val="accent1"/>
              </a:solidFill>
              <a:latin typeface="FZSJ-YANGGNH" panose="02010600010101010101" pitchFamily="2" charset="-122"/>
              <a:ea typeface="FZSJ-YANGGNH" panose="02010600010101010101" pitchFamily="2" charset="-122"/>
            </a:endParaRPr>
          </a:p>
        </p:txBody>
      </p:sp>
      <p:sp>
        <p:nvSpPr>
          <p:cNvPr id="21" name="文本框 20"/>
          <p:cNvSpPr txBox="1">
            <a:spLocks noChangeArrowheads="1"/>
          </p:cNvSpPr>
          <p:nvPr/>
        </p:nvSpPr>
        <p:spPr bwMode="auto">
          <a:xfrm>
            <a:off x="2213372" y="2294335"/>
            <a:ext cx="966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smtClean="0">
                <a:solidFill>
                  <a:schemeClr val="bg2"/>
                </a:solidFill>
                <a:latin typeface="FZSJ-YANGGNH" panose="02010600010101010101" pitchFamily="2" charset="-122"/>
                <a:ea typeface="FZSJ-YANGGNH" panose="02010600010101010101" pitchFamily="2" charset="-122"/>
              </a:rPr>
              <a:t>标题文字</a:t>
            </a:r>
            <a:endParaRPr lang="zh-CN" altLang="en-US" sz="1400" b="1" dirty="0">
              <a:solidFill>
                <a:schemeClr val="bg2"/>
              </a:solidFill>
              <a:latin typeface="FZSJ-YANGGNH" panose="02010600010101010101" pitchFamily="2" charset="-122"/>
              <a:ea typeface="FZSJ-YANGGNH" panose="02010600010101010101" pitchFamily="2" charset="-122"/>
            </a:endParaRPr>
          </a:p>
        </p:txBody>
      </p:sp>
      <p:sp>
        <p:nvSpPr>
          <p:cNvPr id="22" name="TextBox 35"/>
          <p:cNvSpPr txBox="1">
            <a:spLocks noChangeArrowheads="1"/>
          </p:cNvSpPr>
          <p:nvPr/>
        </p:nvSpPr>
        <p:spPr bwMode="auto">
          <a:xfrm>
            <a:off x="1120254" y="2626519"/>
            <a:ext cx="208359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在此录入上述图表的综合描述</a:t>
            </a:r>
            <a:r>
              <a:rPr lang="zh-CN" altLang="en-US" sz="900" dirty="0" smtClean="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说明在此</a:t>
            </a:r>
            <a:r>
              <a:rPr lang="zh-CN" altLang="en-US" sz="900" dirty="0">
                <a:solidFill>
                  <a:schemeClr val="accent1"/>
                </a:solidFill>
                <a:latin typeface="FZSJ-YANGGNH" panose="02010600010101010101" pitchFamily="2" charset="-122"/>
                <a:ea typeface="FZSJ-YANGGNH" panose="02010600010101010101" pitchFamily="2" charset="-122"/>
                <a:sym typeface="方正兰亭黑_GBK" panose="02000000000000000000" pitchFamily="2" charset="-122"/>
              </a:rPr>
              <a:t>录入上述图表的综合描述说明，在此录入上述图表的综合描述说明，</a:t>
            </a:r>
            <a:endParaRPr lang="zh-CN" altLang="en-US" sz="900" dirty="0">
              <a:solidFill>
                <a:schemeClr val="accent1"/>
              </a:solidFill>
              <a:latin typeface="FZSJ-YANGGNH" panose="02010600010101010101" pitchFamily="2" charset="-122"/>
              <a:ea typeface="FZSJ-YANGGNH" panose="02010600010101010101" pitchFamily="2" charset="-122"/>
            </a:endParaRPr>
          </a:p>
        </p:txBody>
      </p:sp>
      <p:sp>
        <p:nvSpPr>
          <p:cNvPr id="23" name="文本框 22"/>
          <p:cNvSpPr txBox="1">
            <a:spLocks noChangeArrowheads="1"/>
          </p:cNvSpPr>
          <p:nvPr/>
        </p:nvSpPr>
        <p:spPr bwMode="auto">
          <a:xfrm>
            <a:off x="4403658" y="1162502"/>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FZSJ-YANGGNH" panose="02010600010101010101" pitchFamily="2" charset="-122"/>
                <a:ea typeface="FZSJ-YANGGNH" panose="02010600010101010101" pitchFamily="2" charset="-122"/>
              </a:rPr>
              <a:t>01</a:t>
            </a:r>
            <a:endParaRPr lang="zh-CN" altLang="en-US" b="1" dirty="0">
              <a:solidFill>
                <a:schemeClr val="accent2"/>
              </a:solidFill>
              <a:latin typeface="FZSJ-YANGGNH" panose="02010600010101010101" pitchFamily="2" charset="-122"/>
              <a:ea typeface="FZSJ-YANGGNH" panose="02010600010101010101" pitchFamily="2" charset="-122"/>
            </a:endParaRPr>
          </a:p>
        </p:txBody>
      </p:sp>
      <p:sp>
        <p:nvSpPr>
          <p:cNvPr id="24" name="文本框 23"/>
          <p:cNvSpPr txBox="1">
            <a:spLocks noChangeArrowheads="1"/>
          </p:cNvSpPr>
          <p:nvPr/>
        </p:nvSpPr>
        <p:spPr bwMode="auto">
          <a:xfrm>
            <a:off x="5912220" y="3664029"/>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FZSJ-YANGGNH" panose="02010600010101010101" pitchFamily="2" charset="-122"/>
                <a:ea typeface="FZSJ-YANGGNH" panose="02010600010101010101" pitchFamily="2" charset="-122"/>
              </a:rPr>
              <a:t>02</a:t>
            </a:r>
            <a:endParaRPr lang="zh-CN" altLang="en-US" b="1" dirty="0">
              <a:solidFill>
                <a:schemeClr val="accent2"/>
              </a:solidFill>
              <a:latin typeface="FZSJ-YANGGNH" panose="02010600010101010101" pitchFamily="2" charset="-122"/>
              <a:ea typeface="FZSJ-YANGGNH" panose="02010600010101010101" pitchFamily="2" charset="-122"/>
            </a:endParaRPr>
          </a:p>
        </p:txBody>
      </p:sp>
      <p:sp>
        <p:nvSpPr>
          <p:cNvPr id="25" name="文本框 24"/>
          <p:cNvSpPr txBox="1">
            <a:spLocks noChangeArrowheads="1"/>
          </p:cNvSpPr>
          <p:nvPr/>
        </p:nvSpPr>
        <p:spPr bwMode="auto">
          <a:xfrm>
            <a:off x="2752300" y="3552706"/>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FZSJ-YANGGNH" panose="02010600010101010101" pitchFamily="2" charset="-122"/>
                <a:ea typeface="FZSJ-YANGGNH" panose="02010600010101010101" pitchFamily="2" charset="-122"/>
              </a:rPr>
              <a:t>03</a:t>
            </a:r>
            <a:endParaRPr lang="zh-CN" altLang="en-US" b="1" dirty="0">
              <a:solidFill>
                <a:schemeClr val="accent2"/>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4184813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6"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par>
                                <p:cTn id="21" presetID="22" presetClass="entr" presetSubtype="2"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right)">
                                      <p:cBhvr>
                                        <p:cTn id="23" dur="500"/>
                                        <p:tgtEl>
                                          <p:spTgt spid="13"/>
                                        </p:tgtEl>
                                      </p:cBhvr>
                                    </p:animEffect>
                                  </p:childTnLst>
                                </p:cTn>
                              </p:par>
                              <p:par>
                                <p:cTn id="24" presetID="22" presetClass="entr" presetSubtype="8"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p:cTn id="31" dur="500" fill="hold"/>
                                        <p:tgtEl>
                                          <p:spTgt spid="23"/>
                                        </p:tgtEl>
                                        <p:attrNameLst>
                                          <p:attrName>ppt_w</p:attrName>
                                        </p:attrNameLst>
                                      </p:cBhvr>
                                      <p:tavLst>
                                        <p:tav tm="0">
                                          <p:val>
                                            <p:fltVal val="0"/>
                                          </p:val>
                                        </p:tav>
                                        <p:tav tm="100000">
                                          <p:val>
                                            <p:strVal val="#ppt_w"/>
                                          </p:val>
                                        </p:tav>
                                      </p:tavLst>
                                    </p:anim>
                                    <p:anim calcmode="lin" valueType="num">
                                      <p:cBhvr>
                                        <p:cTn id="32" dur="500" fill="hold"/>
                                        <p:tgtEl>
                                          <p:spTgt spid="23"/>
                                        </p:tgtEl>
                                        <p:attrNameLst>
                                          <p:attrName>ppt_h</p:attrName>
                                        </p:attrNameLst>
                                      </p:cBhvr>
                                      <p:tavLst>
                                        <p:tav tm="0">
                                          <p:val>
                                            <p:fltVal val="0"/>
                                          </p:val>
                                        </p:tav>
                                        <p:tav tm="100000">
                                          <p:val>
                                            <p:strVal val="#ppt_h"/>
                                          </p:val>
                                        </p:tav>
                                      </p:tavLst>
                                    </p:anim>
                                    <p:animEffect transition="in" filter="fade">
                                      <p:cBhvr>
                                        <p:cTn id="33" dur="500"/>
                                        <p:tgtEl>
                                          <p:spTgt spid="23"/>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 calcmode="lin" valueType="num">
                                      <p:cBhvr>
                                        <p:cTn id="36" dur="500" fill="hold"/>
                                        <p:tgtEl>
                                          <p:spTgt spid="24"/>
                                        </p:tgtEl>
                                        <p:attrNameLst>
                                          <p:attrName>ppt_w</p:attrName>
                                        </p:attrNameLst>
                                      </p:cBhvr>
                                      <p:tavLst>
                                        <p:tav tm="0">
                                          <p:val>
                                            <p:fltVal val="0"/>
                                          </p:val>
                                        </p:tav>
                                        <p:tav tm="100000">
                                          <p:val>
                                            <p:strVal val="#ppt_w"/>
                                          </p:val>
                                        </p:tav>
                                      </p:tavLst>
                                    </p:anim>
                                    <p:anim calcmode="lin" valueType="num">
                                      <p:cBhvr>
                                        <p:cTn id="37" dur="500" fill="hold"/>
                                        <p:tgtEl>
                                          <p:spTgt spid="24"/>
                                        </p:tgtEl>
                                        <p:attrNameLst>
                                          <p:attrName>ppt_h</p:attrName>
                                        </p:attrNameLst>
                                      </p:cBhvr>
                                      <p:tavLst>
                                        <p:tav tm="0">
                                          <p:val>
                                            <p:fltVal val="0"/>
                                          </p:val>
                                        </p:tav>
                                        <p:tav tm="100000">
                                          <p:val>
                                            <p:strVal val="#ppt_h"/>
                                          </p:val>
                                        </p:tav>
                                      </p:tavLst>
                                    </p:anim>
                                    <p:animEffect transition="in" filter="fade">
                                      <p:cBhvr>
                                        <p:cTn id="38" dur="500"/>
                                        <p:tgtEl>
                                          <p:spTgt spid="24"/>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 calcmode="lin" valueType="num">
                                      <p:cBhvr>
                                        <p:cTn id="41" dur="500" fill="hold"/>
                                        <p:tgtEl>
                                          <p:spTgt spid="25"/>
                                        </p:tgtEl>
                                        <p:attrNameLst>
                                          <p:attrName>ppt_w</p:attrName>
                                        </p:attrNameLst>
                                      </p:cBhvr>
                                      <p:tavLst>
                                        <p:tav tm="0">
                                          <p:val>
                                            <p:fltVal val="0"/>
                                          </p:val>
                                        </p:tav>
                                        <p:tav tm="100000">
                                          <p:val>
                                            <p:strVal val="#ppt_w"/>
                                          </p:val>
                                        </p:tav>
                                      </p:tavLst>
                                    </p:anim>
                                    <p:anim calcmode="lin" valueType="num">
                                      <p:cBhvr>
                                        <p:cTn id="42" dur="500" fill="hold"/>
                                        <p:tgtEl>
                                          <p:spTgt spid="25"/>
                                        </p:tgtEl>
                                        <p:attrNameLst>
                                          <p:attrName>ppt_h</p:attrName>
                                        </p:attrNameLst>
                                      </p:cBhvr>
                                      <p:tavLst>
                                        <p:tav tm="0">
                                          <p:val>
                                            <p:fltVal val="0"/>
                                          </p:val>
                                        </p:tav>
                                        <p:tav tm="100000">
                                          <p:val>
                                            <p:strVal val="#ppt_h"/>
                                          </p:val>
                                        </p:tav>
                                      </p:tavLst>
                                    </p:anim>
                                    <p:animEffect transition="in" filter="fade">
                                      <p:cBhvr>
                                        <p:cTn id="43" dur="500"/>
                                        <p:tgtEl>
                                          <p:spTgt spid="25"/>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500" fill="hold"/>
                                        <p:tgtEl>
                                          <p:spTgt spid="15"/>
                                        </p:tgtEl>
                                        <p:attrNameLst>
                                          <p:attrName>ppt_w</p:attrName>
                                        </p:attrNameLst>
                                      </p:cBhvr>
                                      <p:tavLst>
                                        <p:tav tm="0">
                                          <p:val>
                                            <p:fltVal val="0"/>
                                          </p:val>
                                        </p:tav>
                                        <p:tav tm="100000">
                                          <p:val>
                                            <p:strVal val="#ppt_w"/>
                                          </p:val>
                                        </p:tav>
                                      </p:tavLst>
                                    </p:anim>
                                    <p:anim calcmode="lin" valueType="num">
                                      <p:cBhvr>
                                        <p:cTn id="57" dur="500" fill="hold"/>
                                        <p:tgtEl>
                                          <p:spTgt spid="15"/>
                                        </p:tgtEl>
                                        <p:attrNameLst>
                                          <p:attrName>ppt_h</p:attrName>
                                        </p:attrNameLst>
                                      </p:cBhvr>
                                      <p:tavLst>
                                        <p:tav tm="0">
                                          <p:val>
                                            <p:fltVal val="0"/>
                                          </p:val>
                                        </p:tav>
                                        <p:tav tm="100000">
                                          <p:val>
                                            <p:strVal val="#ppt_h"/>
                                          </p:val>
                                        </p:tav>
                                      </p:tavLst>
                                    </p:anim>
                                    <p:animEffect transition="in" filter="fade">
                                      <p:cBhvr>
                                        <p:cTn id="58" dur="500"/>
                                        <p:tgtEl>
                                          <p:spTgt spid="15"/>
                                        </p:tgtEl>
                                      </p:cBhvr>
                                    </p:animEffect>
                                  </p:childTnLst>
                                </p:cTn>
                              </p:par>
                            </p:childTnLst>
                          </p:cTn>
                        </p:par>
                        <p:par>
                          <p:cTn id="59" fill="hold">
                            <p:stCondLst>
                              <p:cond delay="500"/>
                            </p:stCondLst>
                            <p:childTnLst>
                              <p:par>
                                <p:cTn id="60" presetID="22" presetClass="entr" presetSubtype="8"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wipe(left)">
                                      <p:cBhvr>
                                        <p:cTn id="62" dur="500"/>
                                        <p:tgtEl>
                                          <p:spTgt spid="17"/>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left)">
                                      <p:cBhvr>
                                        <p:cTn id="65" dur="500"/>
                                        <p:tgtEl>
                                          <p:spTgt spid="21"/>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wipe(left)">
                                      <p:cBhvr>
                                        <p:cTn id="68" dur="500"/>
                                        <p:tgtEl>
                                          <p:spTgt spid="19"/>
                                        </p:tgtEl>
                                      </p:cBhvr>
                                    </p:animEffect>
                                  </p:childTnLst>
                                </p:cTn>
                              </p:par>
                            </p:childTnLst>
                          </p:cTn>
                        </p:par>
                        <p:par>
                          <p:cTn id="69" fill="hold">
                            <p:stCondLst>
                              <p:cond delay="1000"/>
                            </p:stCondLst>
                            <p:childTnLst>
                              <p:par>
                                <p:cTn id="70" presetID="2" presetClass="entr" presetSubtype="2"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 calcmode="lin" valueType="num">
                                      <p:cBhvr additive="base">
                                        <p:cTn id="72" dur="500" fill="hold"/>
                                        <p:tgtEl>
                                          <p:spTgt spid="18"/>
                                        </p:tgtEl>
                                        <p:attrNameLst>
                                          <p:attrName>ppt_x</p:attrName>
                                        </p:attrNameLst>
                                      </p:cBhvr>
                                      <p:tavLst>
                                        <p:tav tm="0">
                                          <p:val>
                                            <p:strVal val="1+#ppt_w/2"/>
                                          </p:val>
                                        </p:tav>
                                        <p:tav tm="100000">
                                          <p:val>
                                            <p:strVal val="#ppt_x"/>
                                          </p:val>
                                        </p:tav>
                                      </p:tavLst>
                                    </p:anim>
                                    <p:anim calcmode="lin" valueType="num">
                                      <p:cBhvr additive="base">
                                        <p:cTn id="73" dur="500" fill="hold"/>
                                        <p:tgtEl>
                                          <p:spTgt spid="18"/>
                                        </p:tgtEl>
                                        <p:attrNameLst>
                                          <p:attrName>ppt_y</p:attrName>
                                        </p:attrNameLst>
                                      </p:cBhvr>
                                      <p:tavLst>
                                        <p:tav tm="0">
                                          <p:val>
                                            <p:strVal val="#ppt_y"/>
                                          </p:val>
                                        </p:tav>
                                        <p:tav tm="100000">
                                          <p:val>
                                            <p:strVal val="#ppt_y"/>
                                          </p:val>
                                        </p:tav>
                                      </p:tavLst>
                                    </p:anim>
                                  </p:childTnLst>
                                </p:cTn>
                              </p:par>
                            </p:childTnLst>
                          </p:cTn>
                        </p:par>
                        <p:par>
                          <p:cTn id="74" fill="hold">
                            <p:stCondLst>
                              <p:cond delay="1500"/>
                            </p:stCondLst>
                            <p:childTnLst>
                              <p:par>
                                <p:cTn id="75" presetID="2" presetClass="entr" presetSubtype="8" fill="hold" grpId="0" nodeType="after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additive="base">
                                        <p:cTn id="77" dur="500" fill="hold"/>
                                        <p:tgtEl>
                                          <p:spTgt spid="22"/>
                                        </p:tgtEl>
                                        <p:attrNameLst>
                                          <p:attrName>ppt_x</p:attrName>
                                        </p:attrNameLst>
                                      </p:cBhvr>
                                      <p:tavLst>
                                        <p:tav tm="0">
                                          <p:val>
                                            <p:strVal val="0-#ppt_w/2"/>
                                          </p:val>
                                        </p:tav>
                                        <p:tav tm="100000">
                                          <p:val>
                                            <p:strVal val="#ppt_x"/>
                                          </p:val>
                                        </p:tav>
                                      </p:tavLst>
                                    </p:anim>
                                    <p:anim calcmode="lin" valueType="num">
                                      <p:cBhvr additive="base">
                                        <p:cTn id="78" dur="500" fill="hold"/>
                                        <p:tgtEl>
                                          <p:spTgt spid="22"/>
                                        </p:tgtEl>
                                        <p:attrNameLst>
                                          <p:attrName>ppt_y</p:attrName>
                                        </p:attrNameLst>
                                      </p:cBhvr>
                                      <p:tavLst>
                                        <p:tav tm="0">
                                          <p:val>
                                            <p:strVal val="#ppt_y"/>
                                          </p:val>
                                        </p:tav>
                                        <p:tav tm="100000">
                                          <p:val>
                                            <p:strVal val="#ppt_y"/>
                                          </p:val>
                                        </p:tav>
                                      </p:tavLst>
                                    </p:anim>
                                  </p:childTnLst>
                                </p:cTn>
                              </p:par>
                            </p:childTnLst>
                          </p:cTn>
                        </p:par>
                        <p:par>
                          <p:cTn id="79" fill="hold">
                            <p:stCondLst>
                              <p:cond delay="2000"/>
                            </p:stCondLst>
                            <p:childTnLst>
                              <p:par>
                                <p:cTn id="80" presetID="2" presetClass="entr" presetSubtype="2"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8"/>
          <p:cNvSpPr/>
          <p:nvPr/>
        </p:nvSpPr>
        <p:spPr>
          <a:xfrm>
            <a:off x="1922005" y="3208577"/>
            <a:ext cx="2438400" cy="900246"/>
          </a:xfrm>
          <a:prstGeom prst="rect">
            <a:avLst/>
          </a:prstGeom>
        </p:spPr>
        <p:txBody>
          <a:bodyPr wrap="square">
            <a:spAutoFit/>
          </a:bodyPr>
          <a:lstStyle/>
          <a:p>
            <a:pPr>
              <a:lnSpc>
                <a:spcPct val="150000"/>
              </a:lnSpc>
            </a:pPr>
            <a:r>
              <a:rPr lang="zh-CN" altLang="en-US" sz="1400" b="1" dirty="0">
                <a:solidFill>
                  <a:schemeClr val="bg2"/>
                </a:solidFill>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9" name="Rectangle 9"/>
          <p:cNvSpPr/>
          <p:nvPr/>
        </p:nvSpPr>
        <p:spPr>
          <a:xfrm>
            <a:off x="1922005" y="2200465"/>
            <a:ext cx="2438400" cy="900246"/>
          </a:xfrm>
          <a:prstGeom prst="rect">
            <a:avLst/>
          </a:prstGeom>
        </p:spPr>
        <p:txBody>
          <a:bodyPr wrap="square">
            <a:spAutoFit/>
          </a:bodyPr>
          <a:lstStyle/>
          <a:p>
            <a:pPr>
              <a:lnSpc>
                <a:spcPct val="150000"/>
              </a:lnSpc>
            </a:pPr>
            <a:r>
              <a:rPr lang="zh-CN" altLang="en-US" sz="1400" b="1" dirty="0">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10" name="Rectangle 10"/>
          <p:cNvSpPr/>
          <p:nvPr/>
        </p:nvSpPr>
        <p:spPr>
          <a:xfrm>
            <a:off x="1922005" y="1221255"/>
            <a:ext cx="2438400" cy="900246"/>
          </a:xfrm>
          <a:prstGeom prst="rect">
            <a:avLst/>
          </a:prstGeom>
        </p:spPr>
        <p:txBody>
          <a:bodyPr wrap="square">
            <a:spAutoFit/>
          </a:bodyPr>
          <a:lstStyle/>
          <a:p>
            <a:pPr>
              <a:lnSpc>
                <a:spcPct val="150000"/>
              </a:lnSpc>
            </a:pPr>
            <a:r>
              <a:rPr lang="zh-CN" altLang="en-US" sz="1400" b="1" dirty="0">
                <a:solidFill>
                  <a:schemeClr val="bg1"/>
                </a:solidFill>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11" name="Rounded Rectangle 17"/>
          <p:cNvSpPr/>
          <p:nvPr/>
        </p:nvSpPr>
        <p:spPr>
          <a:xfrm>
            <a:off x="1007604" y="1308896"/>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sp>
        <p:nvSpPr>
          <p:cNvPr id="12" name="Rounded Rectangle 18"/>
          <p:cNvSpPr/>
          <p:nvPr/>
        </p:nvSpPr>
        <p:spPr>
          <a:xfrm>
            <a:off x="1007604" y="2312134"/>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sp>
        <p:nvSpPr>
          <p:cNvPr id="13" name="Rounded Rectangle 19"/>
          <p:cNvSpPr/>
          <p:nvPr/>
        </p:nvSpPr>
        <p:spPr>
          <a:xfrm>
            <a:off x="1007604" y="3338600"/>
            <a:ext cx="805243" cy="77822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sp>
        <p:nvSpPr>
          <p:cNvPr id="14" name="Rectangle 20"/>
          <p:cNvSpPr/>
          <p:nvPr/>
        </p:nvSpPr>
        <p:spPr>
          <a:xfrm>
            <a:off x="5922878" y="3232596"/>
            <a:ext cx="2438400" cy="900246"/>
          </a:xfrm>
          <a:prstGeom prst="rect">
            <a:avLst/>
          </a:prstGeom>
        </p:spPr>
        <p:txBody>
          <a:bodyPr wrap="square">
            <a:spAutoFit/>
          </a:bodyPr>
          <a:lstStyle/>
          <a:p>
            <a:pPr>
              <a:lnSpc>
                <a:spcPct val="150000"/>
              </a:lnSpc>
            </a:pPr>
            <a:r>
              <a:rPr lang="zh-CN" altLang="en-US" sz="1400" b="1" dirty="0">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15" name="Rectangle 21"/>
          <p:cNvSpPr/>
          <p:nvPr/>
        </p:nvSpPr>
        <p:spPr>
          <a:xfrm>
            <a:off x="5922878" y="2224484"/>
            <a:ext cx="2438400" cy="900246"/>
          </a:xfrm>
          <a:prstGeom prst="rect">
            <a:avLst/>
          </a:prstGeom>
        </p:spPr>
        <p:txBody>
          <a:bodyPr wrap="square">
            <a:spAutoFit/>
          </a:bodyPr>
          <a:lstStyle/>
          <a:p>
            <a:pPr>
              <a:lnSpc>
                <a:spcPct val="150000"/>
              </a:lnSpc>
            </a:pPr>
            <a:r>
              <a:rPr lang="zh-CN" altLang="en-US" sz="1400" b="1" dirty="0">
                <a:solidFill>
                  <a:schemeClr val="bg1"/>
                </a:solidFill>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16" name="Rectangle 22"/>
          <p:cNvSpPr/>
          <p:nvPr/>
        </p:nvSpPr>
        <p:spPr>
          <a:xfrm>
            <a:off x="5922878" y="1245274"/>
            <a:ext cx="2438400" cy="923330"/>
          </a:xfrm>
          <a:prstGeom prst="rect">
            <a:avLst/>
          </a:prstGeom>
        </p:spPr>
        <p:txBody>
          <a:bodyPr wrap="square">
            <a:spAutoFit/>
          </a:bodyPr>
          <a:lstStyle/>
          <a:p>
            <a:pPr>
              <a:lnSpc>
                <a:spcPct val="150000"/>
              </a:lnSpc>
            </a:pPr>
            <a:r>
              <a:rPr lang="zh-CN" altLang="en-US" sz="1400" b="1" dirty="0">
                <a:solidFill>
                  <a:schemeClr val="tx2"/>
                </a:solidFill>
                <a:latin typeface="FZSJ-YANGGNH" panose="02010600010101010101" pitchFamily="2" charset="-122"/>
                <a:ea typeface="FZSJ-YANGGNH" panose="02010600010101010101" pitchFamily="2" charset="-122"/>
                <a:cs typeface="Open Sans" pitchFamily="34" charset="0"/>
              </a:rPr>
              <a:t>单击此处添加标题</a:t>
            </a:r>
          </a:p>
          <a:p>
            <a:pPr>
              <a:lnSpc>
                <a:spcPct val="150000"/>
              </a:lnSpc>
            </a:pPr>
            <a:r>
              <a:rPr lang="zh-CN" altLang="en-US" sz="1050" dirty="0">
                <a:solidFill>
                  <a:schemeClr val="accent1"/>
                </a:solidFill>
                <a:latin typeface="FZSJ-YANGGNH" panose="02010600010101010101" pitchFamily="2" charset="-122"/>
                <a:ea typeface="FZSJ-YANGGNH" panose="02010600010101010101" pitchFamily="2" charset="-122"/>
                <a:cs typeface="Open Sans" pitchFamily="34" charset="0"/>
              </a:rPr>
              <a:t>此处添加详细文本描述，建议与标题相关并符合整体语言风格</a:t>
            </a:r>
            <a:endParaRPr lang="en-US" altLang="zh-CN" sz="1050" dirty="0">
              <a:solidFill>
                <a:schemeClr val="accent1"/>
              </a:solidFill>
              <a:latin typeface="FZSJ-YANGGNH" panose="02010600010101010101" pitchFamily="2" charset="-122"/>
              <a:ea typeface="FZSJ-YANGGNH" panose="02010600010101010101" pitchFamily="2" charset="-122"/>
              <a:cs typeface="Open Sans" pitchFamily="34" charset="0"/>
            </a:endParaRPr>
          </a:p>
        </p:txBody>
      </p:sp>
      <p:sp>
        <p:nvSpPr>
          <p:cNvPr id="17" name="Rounded Rectangle 23"/>
          <p:cNvSpPr/>
          <p:nvPr/>
        </p:nvSpPr>
        <p:spPr>
          <a:xfrm>
            <a:off x="5008477" y="1332915"/>
            <a:ext cx="805243" cy="7782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sp>
        <p:nvSpPr>
          <p:cNvPr id="18" name="Rounded Rectangle 24"/>
          <p:cNvSpPr/>
          <p:nvPr/>
        </p:nvSpPr>
        <p:spPr>
          <a:xfrm>
            <a:off x="5008477" y="2336153"/>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sp>
        <p:nvSpPr>
          <p:cNvPr id="19" name="Rounded Rectangle 25"/>
          <p:cNvSpPr/>
          <p:nvPr/>
        </p:nvSpPr>
        <p:spPr>
          <a:xfrm>
            <a:off x="5008477" y="3362619"/>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FZSJ-YANGGNH" panose="02010600010101010101" pitchFamily="2" charset="-122"/>
              <a:ea typeface="FZSJ-YANGGNH" panose="02010600010101010101" pitchFamily="2" charset="-122"/>
            </a:endParaRPr>
          </a:p>
        </p:txBody>
      </p:sp>
      <p:grpSp>
        <p:nvGrpSpPr>
          <p:cNvPr id="20" name="Group 26"/>
          <p:cNvGrpSpPr/>
          <p:nvPr/>
        </p:nvGrpSpPr>
        <p:grpSpPr>
          <a:xfrm>
            <a:off x="1208768" y="2528724"/>
            <a:ext cx="389810" cy="393086"/>
            <a:chOff x="6418263" y="2255838"/>
            <a:chExt cx="188913" cy="190501"/>
          </a:xfrm>
          <a:solidFill>
            <a:schemeClr val="accent2"/>
          </a:solidFill>
        </p:grpSpPr>
        <p:sp>
          <p:nvSpPr>
            <p:cNvPr id="21" name="Freeform 16"/>
            <p:cNvSpPr>
              <a:spLocks noEditPoints="1"/>
            </p:cNvSpPr>
            <p:nvPr/>
          </p:nvSpPr>
          <p:spPr bwMode="auto">
            <a:xfrm>
              <a:off x="6538913" y="2255838"/>
              <a:ext cx="68263" cy="69850"/>
            </a:xfrm>
            <a:custGeom>
              <a:avLst/>
              <a:gdLst>
                <a:gd name="T0" fmla="*/ 43 w 43"/>
                <a:gd name="T1" fmla="*/ 23 h 44"/>
                <a:gd name="T2" fmla="*/ 20 w 43"/>
                <a:gd name="T3" fmla="*/ 0 h 44"/>
                <a:gd name="T4" fmla="*/ 0 w 43"/>
                <a:gd name="T5" fmla="*/ 22 h 44"/>
                <a:gd name="T6" fmla="*/ 22 w 43"/>
                <a:gd name="T7" fmla="*/ 44 h 44"/>
                <a:gd name="T8" fmla="*/ 43 w 43"/>
                <a:gd name="T9" fmla="*/ 23 h 44"/>
                <a:gd name="T10" fmla="*/ 24 w 43"/>
                <a:gd name="T11" fmla="*/ 17 h 44"/>
                <a:gd name="T12" fmla="*/ 17 w 43"/>
                <a:gd name="T13" fmla="*/ 10 h 44"/>
                <a:gd name="T14" fmla="*/ 21 w 43"/>
                <a:gd name="T15" fmla="*/ 7 h 44"/>
                <a:gd name="T16" fmla="*/ 27 w 43"/>
                <a:gd name="T17" fmla="*/ 13 h 44"/>
                <a:gd name="T18" fmla="*/ 24 w 43"/>
                <a:gd name="T19" fmla="*/ 17 h 44"/>
                <a:gd name="T20" fmla="*/ 34 w 43"/>
                <a:gd name="T21" fmla="*/ 26 h 44"/>
                <a:gd name="T22" fmla="*/ 26 w 43"/>
                <a:gd name="T23" fmla="*/ 20 h 44"/>
                <a:gd name="T24" fmla="*/ 30 w 43"/>
                <a:gd name="T25" fmla="*/ 15 h 44"/>
                <a:gd name="T26" fmla="*/ 37 w 43"/>
                <a:gd name="T27" fmla="*/ 23 h 44"/>
                <a:gd name="T28" fmla="*/ 34 w 43"/>
                <a:gd name="T2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4">
                  <a:moveTo>
                    <a:pt x="43" y="23"/>
                  </a:moveTo>
                  <a:lnTo>
                    <a:pt x="20" y="0"/>
                  </a:lnTo>
                  <a:lnTo>
                    <a:pt x="0" y="22"/>
                  </a:lnTo>
                  <a:lnTo>
                    <a:pt x="22" y="44"/>
                  </a:lnTo>
                  <a:lnTo>
                    <a:pt x="43" y="23"/>
                  </a:lnTo>
                  <a:close/>
                  <a:moveTo>
                    <a:pt x="24" y="17"/>
                  </a:moveTo>
                  <a:lnTo>
                    <a:pt x="17" y="10"/>
                  </a:lnTo>
                  <a:lnTo>
                    <a:pt x="21" y="7"/>
                  </a:lnTo>
                  <a:lnTo>
                    <a:pt x="27" y="13"/>
                  </a:lnTo>
                  <a:lnTo>
                    <a:pt x="24" y="17"/>
                  </a:lnTo>
                  <a:close/>
                  <a:moveTo>
                    <a:pt x="34" y="26"/>
                  </a:moveTo>
                  <a:lnTo>
                    <a:pt x="26" y="20"/>
                  </a:lnTo>
                  <a:lnTo>
                    <a:pt x="30" y="15"/>
                  </a:lnTo>
                  <a:lnTo>
                    <a:pt x="37" y="23"/>
                  </a:lnTo>
                  <a:lnTo>
                    <a:pt x="3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22" name="Freeform 17"/>
            <p:cNvSpPr>
              <a:spLocks noEditPoints="1"/>
            </p:cNvSpPr>
            <p:nvPr/>
          </p:nvSpPr>
          <p:spPr bwMode="auto">
            <a:xfrm>
              <a:off x="6418263" y="2282826"/>
              <a:ext cx="161925" cy="163513"/>
            </a:xfrm>
            <a:custGeom>
              <a:avLst/>
              <a:gdLst>
                <a:gd name="T0" fmla="*/ 66 w 102"/>
                <a:gd name="T1" fmla="*/ 0 h 103"/>
                <a:gd name="T2" fmla="*/ 0 w 102"/>
                <a:gd name="T3" fmla="*/ 67 h 103"/>
                <a:gd name="T4" fmla="*/ 36 w 102"/>
                <a:gd name="T5" fmla="*/ 103 h 103"/>
                <a:gd name="T6" fmla="*/ 102 w 102"/>
                <a:gd name="T7" fmla="*/ 36 h 103"/>
                <a:gd name="T8" fmla="*/ 66 w 102"/>
                <a:gd name="T9" fmla="*/ 0 h 103"/>
                <a:gd name="T10" fmla="*/ 32 w 102"/>
                <a:gd name="T11" fmla="*/ 79 h 103"/>
                <a:gd name="T12" fmla="*/ 22 w 102"/>
                <a:gd name="T13" fmla="*/ 71 h 103"/>
                <a:gd name="T14" fmla="*/ 73 w 102"/>
                <a:gd name="T15" fmla="*/ 21 h 103"/>
                <a:gd name="T16" fmla="*/ 82 w 102"/>
                <a:gd name="T17" fmla="*/ 30 h 103"/>
                <a:gd name="T18" fmla="*/ 32 w 102"/>
                <a:gd name="T19" fmla="*/ 7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3">
                  <a:moveTo>
                    <a:pt x="66" y="0"/>
                  </a:moveTo>
                  <a:lnTo>
                    <a:pt x="0" y="67"/>
                  </a:lnTo>
                  <a:lnTo>
                    <a:pt x="36" y="103"/>
                  </a:lnTo>
                  <a:lnTo>
                    <a:pt x="102" y="36"/>
                  </a:lnTo>
                  <a:lnTo>
                    <a:pt x="66" y="0"/>
                  </a:lnTo>
                  <a:close/>
                  <a:moveTo>
                    <a:pt x="32" y="79"/>
                  </a:moveTo>
                  <a:lnTo>
                    <a:pt x="22" y="71"/>
                  </a:lnTo>
                  <a:lnTo>
                    <a:pt x="73" y="21"/>
                  </a:lnTo>
                  <a:lnTo>
                    <a:pt x="82" y="30"/>
                  </a:lnTo>
                  <a:lnTo>
                    <a:pt x="3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grpSp>
      <p:sp>
        <p:nvSpPr>
          <p:cNvPr id="23" name="Freeform 38"/>
          <p:cNvSpPr>
            <a:spLocks noEditPoints="1"/>
          </p:cNvSpPr>
          <p:nvPr/>
        </p:nvSpPr>
        <p:spPr bwMode="auto">
          <a:xfrm>
            <a:off x="1208768" y="1508748"/>
            <a:ext cx="402914" cy="396361"/>
          </a:xfrm>
          <a:custGeom>
            <a:avLst/>
            <a:gdLst>
              <a:gd name="T0" fmla="*/ 54 w 120"/>
              <a:gd name="T1" fmla="*/ 35 h 118"/>
              <a:gd name="T2" fmla="*/ 47 w 120"/>
              <a:gd name="T3" fmla="*/ 9 h 118"/>
              <a:gd name="T4" fmla="*/ 21 w 120"/>
              <a:gd name="T5" fmla="*/ 2 h 118"/>
              <a:gd name="T6" fmla="*/ 36 w 120"/>
              <a:gd name="T7" fmla="*/ 17 h 118"/>
              <a:gd name="T8" fmla="*/ 32 w 120"/>
              <a:gd name="T9" fmla="*/ 32 h 118"/>
              <a:gd name="T10" fmla="*/ 18 w 120"/>
              <a:gd name="T11" fmla="*/ 36 h 118"/>
              <a:gd name="T12" fmla="*/ 3 w 120"/>
              <a:gd name="T13" fmla="*/ 21 h 118"/>
              <a:gd name="T14" fmla="*/ 9 w 120"/>
              <a:gd name="T15" fmla="*/ 46 h 118"/>
              <a:gd name="T16" fmla="*/ 36 w 120"/>
              <a:gd name="T17" fmla="*/ 53 h 118"/>
              <a:gd name="T18" fmla="*/ 36 w 120"/>
              <a:gd name="T19" fmla="*/ 53 h 118"/>
              <a:gd name="T20" fmla="*/ 98 w 120"/>
              <a:gd name="T21" fmla="*/ 114 h 118"/>
              <a:gd name="T22" fmla="*/ 107 w 120"/>
              <a:gd name="T23" fmla="*/ 118 h 118"/>
              <a:gd name="T24" fmla="*/ 116 w 120"/>
              <a:gd name="T25" fmla="*/ 114 h 118"/>
              <a:gd name="T26" fmla="*/ 116 w 120"/>
              <a:gd name="T27" fmla="*/ 97 h 118"/>
              <a:gd name="T28" fmla="*/ 54 w 120"/>
              <a:gd name="T29" fmla="*/ 35 h 118"/>
              <a:gd name="T30" fmla="*/ 108 w 120"/>
              <a:gd name="T31" fmla="*/ 112 h 118"/>
              <a:gd name="T32" fmla="*/ 103 w 120"/>
              <a:gd name="T33" fmla="*/ 107 h 118"/>
              <a:gd name="T34" fmla="*/ 108 w 120"/>
              <a:gd name="T35" fmla="*/ 103 h 118"/>
              <a:gd name="T36" fmla="*/ 113 w 120"/>
              <a:gd name="T37" fmla="*/ 107 h 118"/>
              <a:gd name="T38" fmla="*/ 108 w 120"/>
              <a:gd name="T39"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4" y="35"/>
                </a:move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4"/>
                  <a:pt x="27" y="56"/>
                  <a:pt x="36" y="53"/>
                </a:cubicBezTo>
                <a:cubicBezTo>
                  <a:pt x="36" y="53"/>
                  <a:pt x="36" y="53"/>
                  <a:pt x="36" y="53"/>
                </a:cubicBezTo>
                <a:cubicBezTo>
                  <a:pt x="98" y="114"/>
                  <a:pt x="98" y="114"/>
                  <a:pt x="98" y="114"/>
                </a:cubicBezTo>
                <a:cubicBezTo>
                  <a:pt x="100" y="117"/>
                  <a:pt x="104" y="118"/>
                  <a:pt x="107" y="118"/>
                </a:cubicBezTo>
                <a:cubicBezTo>
                  <a:pt x="110" y="118"/>
                  <a:pt x="113" y="117"/>
                  <a:pt x="116" y="114"/>
                </a:cubicBezTo>
                <a:cubicBezTo>
                  <a:pt x="120" y="109"/>
                  <a:pt x="120" y="102"/>
                  <a:pt x="116" y="97"/>
                </a:cubicBezTo>
                <a:lnTo>
                  <a:pt x="54" y="35"/>
                </a:lnTo>
                <a:close/>
                <a:moveTo>
                  <a:pt x="108" y="112"/>
                </a:moveTo>
                <a:cubicBezTo>
                  <a:pt x="105" y="112"/>
                  <a:pt x="103" y="110"/>
                  <a:pt x="103" y="107"/>
                </a:cubicBezTo>
                <a:cubicBezTo>
                  <a:pt x="103" y="105"/>
                  <a:pt x="105" y="103"/>
                  <a:pt x="108" y="103"/>
                </a:cubicBezTo>
                <a:cubicBezTo>
                  <a:pt x="111" y="103"/>
                  <a:pt x="113" y="105"/>
                  <a:pt x="113" y="107"/>
                </a:cubicBezTo>
                <a:cubicBezTo>
                  <a:pt x="113" y="110"/>
                  <a:pt x="111" y="112"/>
                  <a:pt x="108"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grpSp>
        <p:nvGrpSpPr>
          <p:cNvPr id="24" name="Group 34"/>
          <p:cNvGrpSpPr/>
          <p:nvPr/>
        </p:nvGrpSpPr>
        <p:grpSpPr>
          <a:xfrm>
            <a:off x="5244518" y="1521851"/>
            <a:ext cx="330847" cy="383258"/>
            <a:chOff x="3581400" y="3905251"/>
            <a:chExt cx="160338" cy="185738"/>
          </a:xfrm>
          <a:solidFill>
            <a:schemeClr val="accent2"/>
          </a:solidFill>
        </p:grpSpPr>
        <p:sp>
          <p:nvSpPr>
            <p:cNvPr id="25" name="Rectangle 33"/>
            <p:cNvSpPr>
              <a:spLocks noChangeArrowheads="1"/>
            </p:cNvSpPr>
            <p:nvPr/>
          </p:nvSpPr>
          <p:spPr bwMode="auto">
            <a:xfrm>
              <a:off x="3670300" y="3941763"/>
              <a:ext cx="28575"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26" name="Rectangle 34"/>
            <p:cNvSpPr>
              <a:spLocks noChangeArrowheads="1"/>
            </p:cNvSpPr>
            <p:nvPr/>
          </p:nvSpPr>
          <p:spPr bwMode="auto">
            <a:xfrm>
              <a:off x="3627438" y="3971926"/>
              <a:ext cx="269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27" name="Rectangle 35"/>
            <p:cNvSpPr>
              <a:spLocks noChangeArrowheads="1"/>
            </p:cNvSpPr>
            <p:nvPr/>
          </p:nvSpPr>
          <p:spPr bwMode="auto">
            <a:xfrm>
              <a:off x="3581400" y="3994151"/>
              <a:ext cx="2698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28" name="Rectangle 36"/>
            <p:cNvSpPr>
              <a:spLocks noChangeArrowheads="1"/>
            </p:cNvSpPr>
            <p:nvPr/>
          </p:nvSpPr>
          <p:spPr bwMode="auto">
            <a:xfrm>
              <a:off x="3714750" y="3905251"/>
              <a:ext cx="26988"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grpSp>
      <p:grpSp>
        <p:nvGrpSpPr>
          <p:cNvPr id="29" name="Group 39"/>
          <p:cNvGrpSpPr/>
          <p:nvPr/>
        </p:nvGrpSpPr>
        <p:grpSpPr>
          <a:xfrm>
            <a:off x="5200297" y="3537174"/>
            <a:ext cx="445496" cy="429118"/>
            <a:chOff x="4616450" y="1549401"/>
            <a:chExt cx="215900" cy="207963"/>
          </a:xfrm>
          <a:solidFill>
            <a:schemeClr val="accent2"/>
          </a:solidFill>
        </p:grpSpPr>
        <p:sp>
          <p:nvSpPr>
            <p:cNvPr id="30" name="Freeform 6"/>
            <p:cNvSpPr>
              <a:spLocks noEditPoints="1"/>
            </p:cNvSpPr>
            <p:nvPr/>
          </p:nvSpPr>
          <p:spPr bwMode="auto">
            <a:xfrm>
              <a:off x="4616450" y="1549401"/>
              <a:ext cx="215900" cy="207963"/>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31" name="Oval 7"/>
            <p:cNvSpPr>
              <a:spLocks noChangeArrowheads="1"/>
            </p:cNvSpPr>
            <p:nvPr/>
          </p:nvSpPr>
          <p:spPr bwMode="auto">
            <a:xfrm>
              <a:off x="4718050" y="1685926"/>
              <a:ext cx="15875"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grpSp>
      <p:sp>
        <p:nvSpPr>
          <p:cNvPr id="32" name="Freeform 32"/>
          <p:cNvSpPr>
            <a:spLocks/>
          </p:cNvSpPr>
          <p:nvPr/>
        </p:nvSpPr>
        <p:spPr bwMode="auto">
          <a:xfrm>
            <a:off x="5176892" y="2564134"/>
            <a:ext cx="454160" cy="401218"/>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
        <p:nvSpPr>
          <p:cNvPr id="33" name="Freeform 58"/>
          <p:cNvSpPr>
            <a:spLocks/>
          </p:cNvSpPr>
          <p:nvPr/>
        </p:nvSpPr>
        <p:spPr bwMode="auto">
          <a:xfrm>
            <a:off x="1210732" y="3538528"/>
            <a:ext cx="387845" cy="402033"/>
          </a:xfrm>
          <a:custGeom>
            <a:avLst/>
            <a:gdLst>
              <a:gd name="T0" fmla="*/ 99 w 137"/>
              <a:gd name="T1" fmla="*/ 57 h 142"/>
              <a:gd name="T2" fmla="*/ 137 w 137"/>
              <a:gd name="T3" fmla="*/ 57 h 142"/>
              <a:gd name="T4" fmla="*/ 76 w 137"/>
              <a:gd name="T5" fmla="*/ 4 h 142"/>
              <a:gd name="T6" fmla="*/ 69 w 137"/>
              <a:gd name="T7" fmla="*/ 0 h 142"/>
              <a:gd name="T8" fmla="*/ 62 w 137"/>
              <a:gd name="T9" fmla="*/ 4 h 142"/>
              <a:gd name="T10" fmla="*/ 0 w 137"/>
              <a:gd name="T11" fmla="*/ 57 h 142"/>
              <a:gd name="T12" fmla="*/ 39 w 137"/>
              <a:gd name="T13" fmla="*/ 57 h 142"/>
              <a:gd name="T14" fmla="*/ 62 w 137"/>
              <a:gd name="T15" fmla="*/ 5 h 142"/>
              <a:gd name="T16" fmla="*/ 62 w 137"/>
              <a:gd name="T17" fmla="*/ 6 h 142"/>
              <a:gd name="T18" fmla="*/ 44 w 137"/>
              <a:gd name="T19" fmla="*/ 57 h 142"/>
              <a:gd name="T20" fmla="*/ 64 w 137"/>
              <a:gd name="T21" fmla="*/ 57 h 142"/>
              <a:gd name="T22" fmla="*/ 64 w 137"/>
              <a:gd name="T23" fmla="*/ 123 h 142"/>
              <a:gd name="T24" fmla="*/ 64 w 137"/>
              <a:gd name="T25" fmla="*/ 125 h 142"/>
              <a:gd name="T26" fmla="*/ 64 w 137"/>
              <a:gd name="T27" fmla="*/ 130 h 142"/>
              <a:gd name="T28" fmla="*/ 76 w 137"/>
              <a:gd name="T29" fmla="*/ 142 h 142"/>
              <a:gd name="T30" fmla="*/ 88 w 137"/>
              <a:gd name="T31" fmla="*/ 130 h 142"/>
              <a:gd name="T32" fmla="*/ 88 w 137"/>
              <a:gd name="T33" fmla="*/ 125 h 142"/>
              <a:gd name="T34" fmla="*/ 79 w 137"/>
              <a:gd name="T35" fmla="*/ 125 h 142"/>
              <a:gd name="T36" fmla="*/ 79 w 137"/>
              <a:gd name="T37" fmla="*/ 127 h 142"/>
              <a:gd name="T38" fmla="*/ 79 w 137"/>
              <a:gd name="T39" fmla="*/ 130 h 142"/>
              <a:gd name="T40" fmla="*/ 76 w 137"/>
              <a:gd name="T41" fmla="*/ 134 h 142"/>
              <a:gd name="T42" fmla="*/ 72 w 137"/>
              <a:gd name="T43" fmla="*/ 130 h 142"/>
              <a:gd name="T44" fmla="*/ 72 w 137"/>
              <a:gd name="T45" fmla="*/ 127 h 142"/>
              <a:gd name="T46" fmla="*/ 72 w 137"/>
              <a:gd name="T47" fmla="*/ 125 h 142"/>
              <a:gd name="T48" fmla="*/ 72 w 137"/>
              <a:gd name="T49" fmla="*/ 112 h 142"/>
              <a:gd name="T50" fmla="*/ 72 w 137"/>
              <a:gd name="T51" fmla="*/ 57 h 142"/>
              <a:gd name="T52" fmla="*/ 94 w 137"/>
              <a:gd name="T53" fmla="*/ 57 h 142"/>
              <a:gd name="T54" fmla="*/ 76 w 137"/>
              <a:gd name="T55" fmla="*/ 6 h 142"/>
              <a:gd name="T56" fmla="*/ 76 w 137"/>
              <a:gd name="T57" fmla="*/ 5 h 142"/>
              <a:gd name="T58" fmla="*/ 99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99" y="57"/>
                </a:moveTo>
                <a:cubicBezTo>
                  <a:pt x="137" y="57"/>
                  <a:pt x="137" y="57"/>
                  <a:pt x="137" y="57"/>
                </a:cubicBezTo>
                <a:cubicBezTo>
                  <a:pt x="130" y="29"/>
                  <a:pt x="105" y="7"/>
                  <a:pt x="76" y="4"/>
                </a:cubicBezTo>
                <a:cubicBezTo>
                  <a:pt x="74" y="2"/>
                  <a:pt x="72" y="0"/>
                  <a:pt x="69" y="0"/>
                </a:cubicBezTo>
                <a:cubicBezTo>
                  <a:pt x="66" y="0"/>
                  <a:pt x="64" y="2"/>
                  <a:pt x="62" y="4"/>
                </a:cubicBezTo>
                <a:cubicBezTo>
                  <a:pt x="32" y="7"/>
                  <a:pt x="7" y="28"/>
                  <a:pt x="0" y="57"/>
                </a:cubicBezTo>
                <a:cubicBezTo>
                  <a:pt x="39" y="57"/>
                  <a:pt x="39" y="57"/>
                  <a:pt x="39" y="57"/>
                </a:cubicBezTo>
                <a:cubicBezTo>
                  <a:pt x="39" y="24"/>
                  <a:pt x="58" y="8"/>
                  <a:pt x="62" y="5"/>
                </a:cubicBezTo>
                <a:cubicBezTo>
                  <a:pt x="62" y="5"/>
                  <a:pt x="62" y="5"/>
                  <a:pt x="62" y="6"/>
                </a:cubicBezTo>
                <a:cubicBezTo>
                  <a:pt x="41" y="32"/>
                  <a:pt x="44" y="57"/>
                  <a:pt x="44" y="57"/>
                </a:cubicBezTo>
                <a:cubicBezTo>
                  <a:pt x="64" y="57"/>
                  <a:pt x="64" y="57"/>
                  <a:pt x="64" y="57"/>
                </a:cubicBezTo>
                <a:cubicBezTo>
                  <a:pt x="64" y="123"/>
                  <a:pt x="64" y="123"/>
                  <a:pt x="64" y="123"/>
                </a:cubicBezTo>
                <a:cubicBezTo>
                  <a:pt x="64" y="125"/>
                  <a:pt x="64" y="125"/>
                  <a:pt x="64" y="125"/>
                </a:cubicBezTo>
                <a:cubicBezTo>
                  <a:pt x="64" y="130"/>
                  <a:pt x="64" y="130"/>
                  <a:pt x="64" y="130"/>
                </a:cubicBezTo>
                <a:cubicBezTo>
                  <a:pt x="64" y="137"/>
                  <a:pt x="69" y="142"/>
                  <a:pt x="76" y="142"/>
                </a:cubicBezTo>
                <a:cubicBezTo>
                  <a:pt x="82" y="142"/>
                  <a:pt x="88" y="137"/>
                  <a:pt x="88" y="130"/>
                </a:cubicBezTo>
                <a:cubicBezTo>
                  <a:pt x="88" y="125"/>
                  <a:pt x="88" y="125"/>
                  <a:pt x="88" y="125"/>
                </a:cubicBezTo>
                <a:cubicBezTo>
                  <a:pt x="79" y="125"/>
                  <a:pt x="79" y="125"/>
                  <a:pt x="79" y="125"/>
                </a:cubicBezTo>
                <a:cubicBezTo>
                  <a:pt x="79" y="127"/>
                  <a:pt x="79" y="127"/>
                  <a:pt x="79" y="127"/>
                </a:cubicBezTo>
                <a:cubicBezTo>
                  <a:pt x="79" y="130"/>
                  <a:pt x="79" y="130"/>
                  <a:pt x="79" y="130"/>
                </a:cubicBezTo>
                <a:cubicBezTo>
                  <a:pt x="79" y="132"/>
                  <a:pt x="78" y="134"/>
                  <a:pt x="76" y="134"/>
                </a:cubicBezTo>
                <a:cubicBezTo>
                  <a:pt x="74" y="134"/>
                  <a:pt x="72" y="132"/>
                  <a:pt x="72" y="130"/>
                </a:cubicBezTo>
                <a:cubicBezTo>
                  <a:pt x="72" y="127"/>
                  <a:pt x="72" y="127"/>
                  <a:pt x="72" y="127"/>
                </a:cubicBezTo>
                <a:cubicBezTo>
                  <a:pt x="72" y="125"/>
                  <a:pt x="72" y="125"/>
                  <a:pt x="72" y="125"/>
                </a:cubicBezTo>
                <a:cubicBezTo>
                  <a:pt x="72" y="112"/>
                  <a:pt x="72" y="112"/>
                  <a:pt x="72" y="112"/>
                </a:cubicBezTo>
                <a:cubicBezTo>
                  <a:pt x="72" y="57"/>
                  <a:pt x="72" y="57"/>
                  <a:pt x="72" y="57"/>
                </a:cubicBezTo>
                <a:cubicBezTo>
                  <a:pt x="94" y="57"/>
                  <a:pt x="94" y="57"/>
                  <a:pt x="94" y="57"/>
                </a:cubicBezTo>
                <a:cubicBezTo>
                  <a:pt x="94" y="57"/>
                  <a:pt x="97" y="32"/>
                  <a:pt x="76" y="6"/>
                </a:cubicBezTo>
                <a:cubicBezTo>
                  <a:pt x="76" y="5"/>
                  <a:pt x="76" y="5"/>
                  <a:pt x="76" y="5"/>
                </a:cubicBezTo>
                <a:cubicBezTo>
                  <a:pt x="80" y="8"/>
                  <a:pt x="99" y="24"/>
                  <a:pt x="99"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1053761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1+#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1+#ppt_w/2"/>
                                          </p:val>
                                        </p:tav>
                                        <p:tav tm="100000">
                                          <p:val>
                                            <p:strVal val="#ppt_x"/>
                                          </p:val>
                                        </p:tav>
                                      </p:tavLst>
                                    </p:anim>
                                    <p:anim calcmode="lin" valueType="num">
                                      <p:cBhvr additive="base">
                                        <p:cTn id="22" dur="500" fill="hold"/>
                                        <p:tgtEl>
                                          <p:spTgt spid="9"/>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1+#ppt_w/2"/>
                                          </p:val>
                                        </p:tav>
                                        <p:tav tm="100000">
                                          <p:val>
                                            <p:strVal val="#ppt_x"/>
                                          </p:val>
                                        </p:tav>
                                      </p:tavLst>
                                    </p:anim>
                                    <p:anim calcmode="lin" valueType="num">
                                      <p:cBhvr additive="base">
                                        <p:cTn id="26" dur="500" fill="hold"/>
                                        <p:tgtEl>
                                          <p:spTgt spid="1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1+#ppt_w/2"/>
                                          </p:val>
                                        </p:tav>
                                        <p:tav tm="100000">
                                          <p:val>
                                            <p:strVal val="#ppt_x"/>
                                          </p:val>
                                        </p:tav>
                                      </p:tavLst>
                                    </p:anim>
                                    <p:anim calcmode="lin" valueType="num">
                                      <p:cBhvr additive="base">
                                        <p:cTn id="36" dur="500" fill="hold"/>
                                        <p:tgtEl>
                                          <p:spTgt spid="8"/>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1+#ppt_w/2"/>
                                          </p:val>
                                        </p:tav>
                                        <p:tav tm="100000">
                                          <p:val>
                                            <p:strVal val="#ppt_x"/>
                                          </p:val>
                                        </p:tav>
                                      </p:tavLst>
                                    </p:anim>
                                    <p:anim calcmode="lin" valueType="num">
                                      <p:cBhvr additive="base">
                                        <p:cTn id="40" dur="500" fill="hold"/>
                                        <p:tgtEl>
                                          <p:spTgt spid="1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1+#ppt_w/2"/>
                                          </p:val>
                                        </p:tav>
                                        <p:tav tm="100000">
                                          <p:val>
                                            <p:strVal val="#ppt_x"/>
                                          </p:val>
                                        </p:tav>
                                      </p:tavLst>
                                    </p:anim>
                                    <p:anim calcmode="lin" valueType="num">
                                      <p:cBhvr additive="base">
                                        <p:cTn id="44"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additive="base">
                                        <p:cTn id="53" dur="500" fill="hold"/>
                                        <p:tgtEl>
                                          <p:spTgt spid="17"/>
                                        </p:tgtEl>
                                        <p:attrNameLst>
                                          <p:attrName>ppt_x</p:attrName>
                                        </p:attrNameLst>
                                      </p:cBhvr>
                                      <p:tavLst>
                                        <p:tav tm="0">
                                          <p:val>
                                            <p:strVal val="1+#ppt_w/2"/>
                                          </p:val>
                                        </p:tav>
                                        <p:tav tm="100000">
                                          <p:val>
                                            <p:strVal val="#ppt_x"/>
                                          </p:val>
                                        </p:tav>
                                      </p:tavLst>
                                    </p:anim>
                                    <p:anim calcmode="lin" valueType="num">
                                      <p:cBhvr additive="base">
                                        <p:cTn id="54" dur="500" fill="hold"/>
                                        <p:tgtEl>
                                          <p:spTgt spid="17"/>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 calcmode="lin" valueType="num">
                                      <p:cBhvr additive="base">
                                        <p:cTn id="57" dur="500" fill="hold"/>
                                        <p:tgtEl>
                                          <p:spTgt spid="24"/>
                                        </p:tgtEl>
                                        <p:attrNameLst>
                                          <p:attrName>ppt_x</p:attrName>
                                        </p:attrNameLst>
                                      </p:cBhvr>
                                      <p:tavLst>
                                        <p:tav tm="0">
                                          <p:val>
                                            <p:strVal val="1+#ppt_w/2"/>
                                          </p:val>
                                        </p:tav>
                                        <p:tav tm="100000">
                                          <p:val>
                                            <p:strVal val="#ppt_x"/>
                                          </p:val>
                                        </p:tav>
                                      </p:tavLst>
                                    </p:anim>
                                    <p:anim calcmode="lin" valueType="num">
                                      <p:cBhvr additive="base">
                                        <p:cTn id="5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2" fill="hold" grpId="0" nodeType="clickEffect">
                                  <p:stCondLst>
                                    <p:cond delay="0"/>
                                  </p:stCondLst>
                                  <p:childTnLst>
                                    <p:set>
                                      <p:cBhvr>
                                        <p:cTn id="62" dur="1" fill="hold">
                                          <p:stCondLst>
                                            <p:cond delay="0"/>
                                          </p:stCondLst>
                                        </p:cTn>
                                        <p:tgtEl>
                                          <p:spTgt spid="15"/>
                                        </p:tgtEl>
                                        <p:attrNameLst>
                                          <p:attrName>style.visibility</p:attrName>
                                        </p:attrNameLst>
                                      </p:cBhvr>
                                      <p:to>
                                        <p:strVal val="visible"/>
                                      </p:to>
                                    </p:set>
                                    <p:anim calcmode="lin" valueType="num">
                                      <p:cBhvr additive="base">
                                        <p:cTn id="63" dur="500" fill="hold"/>
                                        <p:tgtEl>
                                          <p:spTgt spid="15"/>
                                        </p:tgtEl>
                                        <p:attrNameLst>
                                          <p:attrName>ppt_x</p:attrName>
                                        </p:attrNameLst>
                                      </p:cBhvr>
                                      <p:tavLst>
                                        <p:tav tm="0">
                                          <p:val>
                                            <p:strVal val="1+#ppt_w/2"/>
                                          </p:val>
                                        </p:tav>
                                        <p:tav tm="100000">
                                          <p:val>
                                            <p:strVal val="#ppt_x"/>
                                          </p:val>
                                        </p:tav>
                                      </p:tavLst>
                                    </p:anim>
                                    <p:anim calcmode="lin" valueType="num">
                                      <p:cBhvr additive="base">
                                        <p:cTn id="64" dur="500" fill="hold"/>
                                        <p:tgtEl>
                                          <p:spTgt spid="15"/>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500" fill="hold"/>
                                        <p:tgtEl>
                                          <p:spTgt spid="18"/>
                                        </p:tgtEl>
                                        <p:attrNameLst>
                                          <p:attrName>ppt_x</p:attrName>
                                        </p:attrNameLst>
                                      </p:cBhvr>
                                      <p:tavLst>
                                        <p:tav tm="0">
                                          <p:val>
                                            <p:strVal val="1+#ppt_w/2"/>
                                          </p:val>
                                        </p:tav>
                                        <p:tav tm="100000">
                                          <p:val>
                                            <p:strVal val="#ppt_x"/>
                                          </p:val>
                                        </p:tav>
                                      </p:tavLst>
                                    </p:anim>
                                    <p:anim calcmode="lin" valueType="num">
                                      <p:cBhvr additive="base">
                                        <p:cTn id="68" dur="500" fill="hold"/>
                                        <p:tgtEl>
                                          <p:spTgt spid="18"/>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32"/>
                                        </p:tgtEl>
                                        <p:attrNameLst>
                                          <p:attrName>style.visibility</p:attrName>
                                        </p:attrNameLst>
                                      </p:cBhvr>
                                      <p:to>
                                        <p:strVal val="visible"/>
                                      </p:to>
                                    </p:set>
                                    <p:anim calcmode="lin" valueType="num">
                                      <p:cBhvr additive="base">
                                        <p:cTn id="71" dur="500" fill="hold"/>
                                        <p:tgtEl>
                                          <p:spTgt spid="32"/>
                                        </p:tgtEl>
                                        <p:attrNameLst>
                                          <p:attrName>ppt_x</p:attrName>
                                        </p:attrNameLst>
                                      </p:cBhvr>
                                      <p:tavLst>
                                        <p:tav tm="0">
                                          <p:val>
                                            <p:strVal val="1+#ppt_w/2"/>
                                          </p:val>
                                        </p:tav>
                                        <p:tav tm="100000">
                                          <p:val>
                                            <p:strVal val="#ppt_x"/>
                                          </p:val>
                                        </p:tav>
                                      </p:tavLst>
                                    </p:anim>
                                    <p:anim calcmode="lin" valueType="num">
                                      <p:cBhvr additive="base">
                                        <p:cTn id="72"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grpId="0" nodeType="click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par>
                                <p:cTn id="79" presetID="2" presetClass="entr" presetSubtype="2"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 calcmode="lin" valueType="num">
                                      <p:cBhvr additive="base">
                                        <p:cTn id="81" dur="500" fill="hold"/>
                                        <p:tgtEl>
                                          <p:spTgt spid="19"/>
                                        </p:tgtEl>
                                        <p:attrNameLst>
                                          <p:attrName>ppt_x</p:attrName>
                                        </p:attrNameLst>
                                      </p:cBhvr>
                                      <p:tavLst>
                                        <p:tav tm="0">
                                          <p:val>
                                            <p:strVal val="1+#ppt_w/2"/>
                                          </p:val>
                                        </p:tav>
                                        <p:tav tm="100000">
                                          <p:val>
                                            <p:strVal val="#ppt_x"/>
                                          </p:val>
                                        </p:tav>
                                      </p:tavLst>
                                    </p:anim>
                                    <p:anim calcmode="lin" valueType="num">
                                      <p:cBhvr additive="base">
                                        <p:cTn id="82" dur="500" fill="hold"/>
                                        <p:tgtEl>
                                          <p:spTgt spid="19"/>
                                        </p:tgtEl>
                                        <p:attrNameLst>
                                          <p:attrName>ppt_y</p:attrName>
                                        </p:attrNameLst>
                                      </p:cBhvr>
                                      <p:tavLst>
                                        <p:tav tm="0">
                                          <p:val>
                                            <p:strVal val="#ppt_y"/>
                                          </p:val>
                                        </p:tav>
                                        <p:tav tm="100000">
                                          <p:val>
                                            <p:strVal val="#ppt_y"/>
                                          </p:val>
                                        </p:tav>
                                      </p:tavLst>
                                    </p:anim>
                                  </p:childTnLst>
                                </p:cTn>
                              </p:par>
                              <p:par>
                                <p:cTn id="83" presetID="2" presetClass="entr" presetSubtype="2"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 calcmode="lin" valueType="num">
                                      <p:cBhvr additive="base">
                                        <p:cTn id="85" dur="500" fill="hold"/>
                                        <p:tgtEl>
                                          <p:spTgt spid="29"/>
                                        </p:tgtEl>
                                        <p:attrNameLst>
                                          <p:attrName>ppt_x</p:attrName>
                                        </p:attrNameLst>
                                      </p:cBhvr>
                                      <p:tavLst>
                                        <p:tav tm="0">
                                          <p:val>
                                            <p:strVal val="1+#ppt_w/2"/>
                                          </p:val>
                                        </p:tav>
                                        <p:tav tm="100000">
                                          <p:val>
                                            <p:strVal val="#ppt_x"/>
                                          </p:val>
                                        </p:tav>
                                      </p:tavLst>
                                    </p:anim>
                                    <p:anim calcmode="lin" valueType="num">
                                      <p:cBhvr additive="base">
                                        <p:cTn id="86"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2" grpId="0" animBg="1"/>
      <p:bldP spid="13" grpId="0" animBg="1"/>
      <p:bldP spid="14" grpId="0"/>
      <p:bldP spid="15" grpId="0"/>
      <p:bldP spid="16" grpId="0"/>
      <p:bldP spid="17" grpId="0" animBg="1"/>
      <p:bldP spid="18" grpId="0" animBg="1"/>
      <p:bldP spid="19" grpId="0" animBg="1"/>
      <p:bldP spid="23" grpId="0" animBg="1"/>
      <p:bldP spid="32" grpId="0" animBg="1"/>
      <p:bldP spid="3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2"/>
                </a:solidFill>
                <a:latin typeface="FZSJ-YANGGNH" panose="02010600010101010101" pitchFamily="2" charset="-122"/>
                <a:ea typeface="FZSJ-YANGGNH" panose="02010600010101010101" pitchFamily="2" charset="-122"/>
              </a:rPr>
              <a:t>标题内容</a:t>
            </a:r>
            <a:endParaRPr lang="en-US" altLang="zh-CN" sz="2800" dirty="0">
              <a:solidFill>
                <a:schemeClr val="bg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4"/>
          <p:cNvSpPr>
            <a:spLocks/>
          </p:cNvSpPr>
          <p:nvPr/>
        </p:nvSpPr>
        <p:spPr bwMode="auto">
          <a:xfrm rot="13500000">
            <a:off x="2742255" y="2172664"/>
            <a:ext cx="919914" cy="1531358"/>
          </a:xfrm>
          <a:custGeom>
            <a:avLst/>
            <a:gdLst>
              <a:gd name="T0" fmla="*/ 329 w 486"/>
              <a:gd name="T1" fmla="*/ 0 h 799"/>
              <a:gd name="T2" fmla="*/ 378 w 486"/>
              <a:gd name="T3" fmla="*/ 1 h 799"/>
              <a:gd name="T4" fmla="*/ 430 w 486"/>
              <a:gd name="T5" fmla="*/ 7 h 799"/>
              <a:gd name="T6" fmla="*/ 486 w 486"/>
              <a:gd name="T7" fmla="*/ 19 h 799"/>
              <a:gd name="T8" fmla="*/ 483 w 486"/>
              <a:gd name="T9" fmla="*/ 30 h 799"/>
              <a:gd name="T10" fmla="*/ 428 w 486"/>
              <a:gd name="T11" fmla="*/ 19 h 799"/>
              <a:gd name="T12" fmla="*/ 376 w 486"/>
              <a:gd name="T13" fmla="*/ 13 h 799"/>
              <a:gd name="T14" fmla="*/ 329 w 486"/>
              <a:gd name="T15" fmla="*/ 12 h 799"/>
              <a:gd name="T16" fmla="*/ 278 w 486"/>
              <a:gd name="T17" fmla="*/ 15 h 799"/>
              <a:gd name="T18" fmla="*/ 231 w 486"/>
              <a:gd name="T19" fmla="*/ 22 h 799"/>
              <a:gd name="T20" fmla="*/ 191 w 486"/>
              <a:gd name="T21" fmla="*/ 36 h 799"/>
              <a:gd name="T22" fmla="*/ 153 w 486"/>
              <a:gd name="T23" fmla="*/ 53 h 799"/>
              <a:gd name="T24" fmla="*/ 122 w 486"/>
              <a:gd name="T25" fmla="*/ 74 h 799"/>
              <a:gd name="T26" fmla="*/ 94 w 486"/>
              <a:gd name="T27" fmla="*/ 101 h 799"/>
              <a:gd name="T28" fmla="*/ 72 w 486"/>
              <a:gd name="T29" fmla="*/ 129 h 799"/>
              <a:gd name="T30" fmla="*/ 52 w 486"/>
              <a:gd name="T31" fmla="*/ 162 h 799"/>
              <a:gd name="T32" fmla="*/ 38 w 486"/>
              <a:gd name="T33" fmla="*/ 198 h 799"/>
              <a:gd name="T34" fmla="*/ 27 w 486"/>
              <a:gd name="T35" fmla="*/ 235 h 799"/>
              <a:gd name="T36" fmla="*/ 18 w 486"/>
              <a:gd name="T37" fmla="*/ 275 h 799"/>
              <a:gd name="T38" fmla="*/ 14 w 486"/>
              <a:gd name="T39" fmla="*/ 317 h 799"/>
              <a:gd name="T40" fmla="*/ 12 w 486"/>
              <a:gd name="T41" fmla="*/ 361 h 799"/>
              <a:gd name="T42" fmla="*/ 17 w 486"/>
              <a:gd name="T43" fmla="*/ 434 h 799"/>
              <a:gd name="T44" fmla="*/ 27 w 486"/>
              <a:gd name="T45" fmla="*/ 510 h 799"/>
              <a:gd name="T46" fmla="*/ 45 w 486"/>
              <a:gd name="T47" fmla="*/ 584 h 799"/>
              <a:gd name="T48" fmla="*/ 67 w 486"/>
              <a:gd name="T49" fmla="*/ 657 h 799"/>
              <a:gd name="T50" fmla="*/ 95 w 486"/>
              <a:gd name="T51" fmla="*/ 727 h 799"/>
              <a:gd name="T52" fmla="*/ 127 w 486"/>
              <a:gd name="T53" fmla="*/ 793 h 799"/>
              <a:gd name="T54" fmla="*/ 127 w 486"/>
              <a:gd name="T55" fmla="*/ 793 h 799"/>
              <a:gd name="T56" fmla="*/ 115 w 486"/>
              <a:gd name="T57" fmla="*/ 799 h 799"/>
              <a:gd name="T58" fmla="*/ 84 w 486"/>
              <a:gd name="T59" fmla="*/ 733 h 799"/>
              <a:gd name="T60" fmla="*/ 55 w 486"/>
              <a:gd name="T61" fmla="*/ 662 h 799"/>
              <a:gd name="T62" fmla="*/ 33 w 486"/>
              <a:gd name="T63" fmla="*/ 587 h 799"/>
              <a:gd name="T64" fmla="*/ 15 w 486"/>
              <a:gd name="T65" fmla="*/ 512 h 799"/>
              <a:gd name="T66" fmla="*/ 5 w 486"/>
              <a:gd name="T67" fmla="*/ 436 h 799"/>
              <a:gd name="T68" fmla="*/ 0 w 486"/>
              <a:gd name="T69" fmla="*/ 361 h 799"/>
              <a:gd name="T70" fmla="*/ 2 w 486"/>
              <a:gd name="T71" fmla="*/ 312 h 799"/>
              <a:gd name="T72" fmla="*/ 8 w 486"/>
              <a:gd name="T73" fmla="*/ 266 h 799"/>
              <a:gd name="T74" fmla="*/ 17 w 486"/>
              <a:gd name="T75" fmla="*/ 222 h 799"/>
              <a:gd name="T76" fmla="*/ 32 w 486"/>
              <a:gd name="T77" fmla="*/ 180 h 799"/>
              <a:gd name="T78" fmla="*/ 49 w 486"/>
              <a:gd name="T79" fmla="*/ 143 h 799"/>
              <a:gd name="T80" fmla="*/ 73 w 486"/>
              <a:gd name="T81" fmla="*/ 107 h 799"/>
              <a:gd name="T82" fmla="*/ 97 w 486"/>
              <a:gd name="T83" fmla="*/ 80 h 799"/>
              <a:gd name="T84" fmla="*/ 125 w 486"/>
              <a:gd name="T85" fmla="*/ 56 h 799"/>
              <a:gd name="T86" fmla="*/ 158 w 486"/>
              <a:gd name="T87" fmla="*/ 37 h 799"/>
              <a:gd name="T88" fmla="*/ 194 w 486"/>
              <a:gd name="T89" fmla="*/ 21 h 799"/>
              <a:gd name="T90" fmla="*/ 235 w 486"/>
              <a:gd name="T91" fmla="*/ 9 h 799"/>
              <a:gd name="T92" fmla="*/ 280 w 486"/>
              <a:gd name="T93" fmla="*/ 1 h 799"/>
              <a:gd name="T94" fmla="*/ 329 w 486"/>
              <a:gd name="T95" fmla="*/ 0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799">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32" name="Freeform 6"/>
          <p:cNvSpPr>
            <a:spLocks/>
          </p:cNvSpPr>
          <p:nvPr/>
        </p:nvSpPr>
        <p:spPr bwMode="auto">
          <a:xfrm>
            <a:off x="-22870" y="2000289"/>
            <a:ext cx="9395139" cy="2462571"/>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33" name="Freeform 13"/>
          <p:cNvSpPr>
            <a:spLocks/>
          </p:cNvSpPr>
          <p:nvPr/>
        </p:nvSpPr>
        <p:spPr bwMode="auto">
          <a:xfrm>
            <a:off x="5547486" y="3084248"/>
            <a:ext cx="1361105" cy="346388"/>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nvGrpSpPr>
          <p:cNvPr id="34" name="Group 19"/>
          <p:cNvGrpSpPr/>
          <p:nvPr/>
        </p:nvGrpSpPr>
        <p:grpSpPr>
          <a:xfrm>
            <a:off x="559226" y="2909854"/>
            <a:ext cx="1517831" cy="958441"/>
            <a:chOff x="552376" y="2667382"/>
            <a:chExt cx="1499240" cy="958587"/>
          </a:xfrm>
        </p:grpSpPr>
        <p:sp>
          <p:nvSpPr>
            <p:cNvPr id="35" name="Rectangle 26"/>
            <p:cNvSpPr>
              <a:spLocks/>
            </p:cNvSpPr>
            <p:nvPr/>
          </p:nvSpPr>
          <p:spPr bwMode="auto">
            <a:xfrm>
              <a:off x="552376" y="2880550"/>
              <a:ext cx="1499240" cy="74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语言描述尽量简洁生动。尽量将每页幻灯片的字数控制在</a:t>
              </a:r>
              <a:r>
                <a:rPr lang="en-US" altLang="zh-CN"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200</a:t>
              </a: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字之内。</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3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solidFill>
                  <a:schemeClr val="bg1"/>
                </a:solidFill>
                <a:latin typeface="FZSJ-YANGGNH" panose="02010600010101010101" pitchFamily="2" charset="-122"/>
                <a:ea typeface="FZSJ-YANGGNH" panose="02010600010101010101" pitchFamily="2" charset="-122"/>
                <a:cs typeface="Bebas Neue" charset="0"/>
                <a:sym typeface="Bebas Neue" charset="0"/>
              </a:endParaRPr>
            </a:p>
          </p:txBody>
        </p:sp>
      </p:grpSp>
      <p:sp>
        <p:nvSpPr>
          <p:cNvPr id="37" name="Freeform 13"/>
          <p:cNvSpPr>
            <a:spLocks/>
          </p:cNvSpPr>
          <p:nvPr/>
        </p:nvSpPr>
        <p:spPr bwMode="auto">
          <a:xfrm rot="5910658">
            <a:off x="6141224" y="2006253"/>
            <a:ext cx="1030748" cy="348067"/>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nvGrpSpPr>
          <p:cNvPr id="38" name="Group 129"/>
          <p:cNvGrpSpPr/>
          <p:nvPr/>
        </p:nvGrpSpPr>
        <p:grpSpPr>
          <a:xfrm>
            <a:off x="2114720" y="2151508"/>
            <a:ext cx="1379845" cy="852220"/>
            <a:chOff x="696724" y="2667382"/>
            <a:chExt cx="1362945" cy="852351"/>
          </a:xfrm>
        </p:grpSpPr>
        <p:sp>
          <p:nvSpPr>
            <p:cNvPr id="39" name="Rectangle 26"/>
            <p:cNvSpPr>
              <a:spLocks/>
            </p:cNvSpPr>
            <p:nvPr/>
          </p:nvSpPr>
          <p:spPr bwMode="auto">
            <a:xfrm>
              <a:off x="696724" y="2920895"/>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40" name="Rectangle 27"/>
            <p:cNvSpPr>
              <a:spLocks/>
            </p:cNvSpPr>
            <p:nvPr/>
          </p:nvSpPr>
          <p:spPr bwMode="auto">
            <a:xfrm>
              <a:off x="6967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latin typeface="FZSJ-YANGGNH" panose="02010600010101010101" pitchFamily="2" charset="-122"/>
                <a:ea typeface="FZSJ-YANGGNH" panose="02010600010101010101" pitchFamily="2" charset="-122"/>
                <a:cs typeface="Bebas Neue" charset="0"/>
                <a:sym typeface="Bebas Neue" charset="0"/>
              </a:endParaRPr>
            </a:p>
          </p:txBody>
        </p:sp>
      </p:grpSp>
      <p:grpSp>
        <p:nvGrpSpPr>
          <p:cNvPr id="41" name="Group 132"/>
          <p:cNvGrpSpPr/>
          <p:nvPr/>
        </p:nvGrpSpPr>
        <p:grpSpPr>
          <a:xfrm>
            <a:off x="4918723" y="1512873"/>
            <a:ext cx="1379845" cy="867219"/>
            <a:chOff x="696724" y="2667383"/>
            <a:chExt cx="1362945" cy="867352"/>
          </a:xfrm>
        </p:grpSpPr>
        <p:sp>
          <p:nvSpPr>
            <p:cNvPr id="42" name="Rectangle 26"/>
            <p:cNvSpPr>
              <a:spLocks/>
            </p:cNvSpPr>
            <p:nvPr/>
          </p:nvSpPr>
          <p:spPr bwMode="auto">
            <a:xfrm>
              <a:off x="696724" y="2935897"/>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43" name="Rectangle 27"/>
            <p:cNvSpPr>
              <a:spLocks/>
            </p:cNvSpPr>
            <p:nvPr/>
          </p:nvSpPr>
          <p:spPr bwMode="auto">
            <a:xfrm>
              <a:off x="696724" y="2667383"/>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tx2"/>
                  </a:solidFill>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solidFill>
                  <a:schemeClr val="tx2"/>
                </a:solidFill>
                <a:latin typeface="FZSJ-YANGGNH" panose="02010600010101010101" pitchFamily="2" charset="-122"/>
                <a:ea typeface="FZSJ-YANGGNH" panose="02010600010101010101" pitchFamily="2" charset="-122"/>
                <a:cs typeface="Bebas Neue" charset="0"/>
                <a:sym typeface="Bebas Neue" charset="0"/>
              </a:endParaRPr>
            </a:p>
          </p:txBody>
        </p:sp>
      </p:grpSp>
      <p:grpSp>
        <p:nvGrpSpPr>
          <p:cNvPr id="44" name="Group 135"/>
          <p:cNvGrpSpPr/>
          <p:nvPr/>
        </p:nvGrpSpPr>
        <p:grpSpPr>
          <a:xfrm>
            <a:off x="4412533" y="4292644"/>
            <a:ext cx="1517831" cy="830458"/>
            <a:chOff x="552376" y="2667382"/>
            <a:chExt cx="1499240" cy="830586"/>
          </a:xfrm>
        </p:grpSpPr>
        <p:sp>
          <p:nvSpPr>
            <p:cNvPr id="45" name="Rectangle 26"/>
            <p:cNvSpPr>
              <a:spLocks/>
            </p:cNvSpPr>
            <p:nvPr/>
          </p:nvSpPr>
          <p:spPr bwMode="auto">
            <a:xfrm>
              <a:off x="552376" y="290745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语言描述尽量简洁生动。</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4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2"/>
                  </a:solidFill>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solidFill>
                  <a:schemeClr val="bg2"/>
                </a:solidFill>
                <a:latin typeface="FZSJ-YANGGNH" panose="02010600010101010101" pitchFamily="2" charset="-122"/>
                <a:ea typeface="FZSJ-YANGGNH" panose="02010600010101010101" pitchFamily="2" charset="-122"/>
                <a:cs typeface="Bebas Neue" charset="0"/>
                <a:sym typeface="Bebas Neue" charset="0"/>
              </a:endParaRPr>
            </a:p>
          </p:txBody>
        </p:sp>
      </p:grpSp>
      <p:grpSp>
        <p:nvGrpSpPr>
          <p:cNvPr id="47" name="Group 138"/>
          <p:cNvGrpSpPr/>
          <p:nvPr/>
        </p:nvGrpSpPr>
        <p:grpSpPr>
          <a:xfrm>
            <a:off x="6216072" y="3834035"/>
            <a:ext cx="1517831" cy="831898"/>
            <a:chOff x="552376" y="2667382"/>
            <a:chExt cx="1499240" cy="832026"/>
          </a:xfrm>
        </p:grpSpPr>
        <p:sp>
          <p:nvSpPr>
            <p:cNvPr id="48" name="Rectangle 26"/>
            <p:cNvSpPr>
              <a:spLocks/>
            </p:cNvSpPr>
            <p:nvPr/>
          </p:nvSpPr>
          <p:spPr bwMode="auto">
            <a:xfrm>
              <a:off x="552376" y="290889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语言描述尽量简洁生动。</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49"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solidFill>
                  <a:schemeClr val="bg1"/>
                </a:solidFill>
                <a:latin typeface="FZSJ-YANGGNH" panose="02010600010101010101" pitchFamily="2" charset="-122"/>
                <a:ea typeface="FZSJ-YANGGNH" panose="02010600010101010101" pitchFamily="2" charset="-122"/>
                <a:cs typeface="Bebas Neue" charset="0"/>
                <a:sym typeface="Bebas Neue" charset="0"/>
              </a:endParaRPr>
            </a:p>
          </p:txBody>
        </p:sp>
      </p:grpSp>
      <p:grpSp>
        <p:nvGrpSpPr>
          <p:cNvPr id="50" name="Group 141"/>
          <p:cNvGrpSpPr/>
          <p:nvPr/>
        </p:nvGrpSpPr>
        <p:grpSpPr>
          <a:xfrm>
            <a:off x="7349516" y="2456223"/>
            <a:ext cx="1517831" cy="838204"/>
            <a:chOff x="552376" y="2667382"/>
            <a:chExt cx="1499240" cy="838333"/>
          </a:xfrm>
        </p:grpSpPr>
        <p:sp>
          <p:nvSpPr>
            <p:cNvPr id="51" name="Rectangle 26"/>
            <p:cNvSpPr>
              <a:spLocks/>
            </p:cNvSpPr>
            <p:nvPr/>
          </p:nvSpPr>
          <p:spPr bwMode="auto">
            <a:xfrm>
              <a:off x="552376" y="2915202"/>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rPr>
                <a:t>此处添加详细文本描述，建议与标题相关并符合整体语言风格，语言描述尽量简洁生动。</a:t>
              </a:r>
              <a:endParaRPr lang="en-US" sz="873" dirty="0">
                <a:solidFill>
                  <a:srgbClr val="000000"/>
                </a:solidFill>
                <a:latin typeface="FZSJ-YANGGNH" panose="02010600010101010101" pitchFamily="2" charset="-122"/>
                <a:ea typeface="FZSJ-YANGGNH" panose="02010600010101010101" pitchFamily="2" charset="-122"/>
                <a:cs typeface="Lato Light" charset="0"/>
                <a:sym typeface="Lato Light" charset="0"/>
              </a:endParaRPr>
            </a:p>
          </p:txBody>
        </p:sp>
        <p:sp>
          <p:nvSpPr>
            <p:cNvPr id="52"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FZSJ-YANGGNH" panose="02010600010101010101" pitchFamily="2" charset="-122"/>
                  <a:ea typeface="FZSJ-YANGGNH" panose="02010600010101010101" pitchFamily="2" charset="-122"/>
                  <a:cs typeface="Bebas Neue" charset="0"/>
                  <a:sym typeface="Bebas Neue" charset="0"/>
                </a:rPr>
                <a:t>添加标题</a:t>
              </a:r>
              <a:endParaRPr lang="en-US" altLang="zh-CN" sz="1746" dirty="0">
                <a:latin typeface="FZSJ-YANGGNH" panose="02010600010101010101" pitchFamily="2" charset="-122"/>
                <a:ea typeface="FZSJ-YANGGNH" panose="02010600010101010101" pitchFamily="2" charset="-122"/>
                <a:cs typeface="Bebas Neue" charset="0"/>
                <a:sym typeface="Bebas Neue" charset="0"/>
              </a:endParaRPr>
            </a:p>
          </p:txBody>
        </p:sp>
      </p:grpSp>
      <p:grpSp>
        <p:nvGrpSpPr>
          <p:cNvPr id="53" name="Group 15"/>
          <p:cNvGrpSpPr/>
          <p:nvPr/>
        </p:nvGrpSpPr>
        <p:grpSpPr>
          <a:xfrm>
            <a:off x="6672044" y="3181878"/>
            <a:ext cx="473092" cy="467227"/>
            <a:chOff x="6590322" y="2740893"/>
            <a:chExt cx="467298" cy="467298"/>
          </a:xfrm>
        </p:grpSpPr>
        <p:sp>
          <p:nvSpPr>
            <p:cNvPr id="54" name="Freeform 11"/>
            <p:cNvSpPr>
              <a:spLocks/>
            </p:cNvSpPr>
            <p:nvPr/>
          </p:nvSpPr>
          <p:spPr bwMode="auto">
            <a:xfrm>
              <a:off x="6590322" y="2740893"/>
              <a:ext cx="467298" cy="467298"/>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55" name="Freeform 6"/>
            <p:cNvSpPr>
              <a:spLocks noEditPoints="1"/>
            </p:cNvSpPr>
            <p:nvPr/>
          </p:nvSpPr>
          <p:spPr bwMode="auto">
            <a:xfrm>
              <a:off x="6661500" y="2865381"/>
              <a:ext cx="318518" cy="211972"/>
            </a:xfrm>
            <a:custGeom>
              <a:avLst/>
              <a:gdLst>
                <a:gd name="T0" fmla="*/ 176 w 176"/>
                <a:gd name="T1" fmla="*/ 99 h 117"/>
                <a:gd name="T2" fmla="*/ 176 w 176"/>
                <a:gd name="T3" fmla="*/ 108 h 117"/>
                <a:gd name="T4" fmla="*/ 161 w 176"/>
                <a:gd name="T5" fmla="*/ 117 h 117"/>
                <a:gd name="T6" fmla="*/ 15 w 176"/>
                <a:gd name="T7" fmla="*/ 117 h 117"/>
                <a:gd name="T8" fmla="*/ 0 w 176"/>
                <a:gd name="T9" fmla="*/ 108 h 117"/>
                <a:gd name="T10" fmla="*/ 0 w 176"/>
                <a:gd name="T11" fmla="*/ 99 h 117"/>
                <a:gd name="T12" fmla="*/ 15 w 176"/>
                <a:gd name="T13" fmla="*/ 99 h 117"/>
                <a:gd name="T14" fmla="*/ 161 w 176"/>
                <a:gd name="T15" fmla="*/ 99 h 117"/>
                <a:gd name="T16" fmla="*/ 176 w 176"/>
                <a:gd name="T17" fmla="*/ 99 h 117"/>
                <a:gd name="T18" fmla="*/ 24 w 176"/>
                <a:gd name="T19" fmla="*/ 79 h 117"/>
                <a:gd name="T20" fmla="*/ 24 w 176"/>
                <a:gd name="T21" fmla="*/ 14 h 117"/>
                <a:gd name="T22" fmla="*/ 38 w 176"/>
                <a:gd name="T23" fmla="*/ 0 h 117"/>
                <a:gd name="T24" fmla="*/ 138 w 176"/>
                <a:gd name="T25" fmla="*/ 0 h 117"/>
                <a:gd name="T26" fmla="*/ 152 w 176"/>
                <a:gd name="T27" fmla="*/ 14 h 117"/>
                <a:gd name="T28" fmla="*/ 152 w 176"/>
                <a:gd name="T29" fmla="*/ 79 h 117"/>
                <a:gd name="T30" fmla="*/ 138 w 176"/>
                <a:gd name="T31" fmla="*/ 93 h 117"/>
                <a:gd name="T32" fmla="*/ 38 w 176"/>
                <a:gd name="T33" fmla="*/ 93 h 117"/>
                <a:gd name="T34" fmla="*/ 24 w 176"/>
                <a:gd name="T35" fmla="*/ 79 h 117"/>
                <a:gd name="T36" fmla="*/ 35 w 176"/>
                <a:gd name="T37" fmla="*/ 79 h 117"/>
                <a:gd name="T38" fmla="*/ 38 w 176"/>
                <a:gd name="T39" fmla="*/ 82 h 117"/>
                <a:gd name="T40" fmla="*/ 138 w 176"/>
                <a:gd name="T41" fmla="*/ 82 h 117"/>
                <a:gd name="T42" fmla="*/ 141 w 176"/>
                <a:gd name="T43" fmla="*/ 79 h 117"/>
                <a:gd name="T44" fmla="*/ 141 w 176"/>
                <a:gd name="T45" fmla="*/ 14 h 117"/>
                <a:gd name="T46" fmla="*/ 138 w 176"/>
                <a:gd name="T47" fmla="*/ 11 h 117"/>
                <a:gd name="T48" fmla="*/ 38 w 176"/>
                <a:gd name="T49" fmla="*/ 11 h 117"/>
                <a:gd name="T50" fmla="*/ 35 w 176"/>
                <a:gd name="T51" fmla="*/ 14 h 117"/>
                <a:gd name="T52" fmla="*/ 35 w 176"/>
                <a:gd name="T53" fmla="*/ 79 h 117"/>
                <a:gd name="T54" fmla="*/ 97 w 176"/>
                <a:gd name="T55" fmla="*/ 107 h 117"/>
                <a:gd name="T56" fmla="*/ 95 w 176"/>
                <a:gd name="T57" fmla="*/ 105 h 117"/>
                <a:gd name="T58" fmla="*/ 81 w 176"/>
                <a:gd name="T59" fmla="*/ 105 h 117"/>
                <a:gd name="T60" fmla="*/ 79 w 176"/>
                <a:gd name="T61" fmla="*/ 107 h 117"/>
                <a:gd name="T62" fmla="*/ 81 w 176"/>
                <a:gd name="T63" fmla="*/ 108 h 117"/>
                <a:gd name="T64" fmla="*/ 95 w 176"/>
                <a:gd name="T65" fmla="*/ 108 h 117"/>
                <a:gd name="T66" fmla="*/ 97 w 176"/>
                <a:gd name="T6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17">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a:spLocks/>
            </p:cNvSpPr>
            <p:nvPr/>
          </p:nvSpPr>
          <p:spPr bwMode="auto">
            <a:xfrm>
              <a:off x="1066082" y="1818668"/>
              <a:ext cx="465007" cy="467298"/>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58" name="Freeform 7"/>
            <p:cNvSpPr>
              <a:spLocks noEditPoints="1"/>
            </p:cNvSpPr>
            <p:nvPr/>
          </p:nvSpPr>
          <p:spPr bwMode="auto">
            <a:xfrm>
              <a:off x="1145360" y="1919614"/>
              <a:ext cx="299574" cy="277578"/>
            </a:xfrm>
            <a:custGeom>
              <a:avLst/>
              <a:gdLst>
                <a:gd name="T0" fmla="*/ 31 w 177"/>
                <a:gd name="T1" fmla="*/ 94 h 164"/>
                <a:gd name="T2" fmla="*/ 19 w 177"/>
                <a:gd name="T3" fmla="*/ 94 h 164"/>
                <a:gd name="T4" fmla="*/ 1 w 177"/>
                <a:gd name="T5" fmla="*/ 79 h 164"/>
                <a:gd name="T6" fmla="*/ 12 w 177"/>
                <a:gd name="T7" fmla="*/ 47 h 164"/>
                <a:gd name="T8" fmla="*/ 36 w 177"/>
                <a:gd name="T9" fmla="*/ 55 h 164"/>
                <a:gd name="T10" fmla="*/ 48 w 177"/>
                <a:gd name="T11" fmla="*/ 52 h 164"/>
                <a:gd name="T12" fmla="*/ 48 w 177"/>
                <a:gd name="T13" fmla="*/ 59 h 164"/>
                <a:gd name="T14" fmla="*/ 55 w 177"/>
                <a:gd name="T15" fmla="*/ 82 h 164"/>
                <a:gd name="T16" fmla="*/ 31 w 177"/>
                <a:gd name="T17" fmla="*/ 94 h 164"/>
                <a:gd name="T18" fmla="*/ 36 w 177"/>
                <a:gd name="T19" fmla="*/ 47 h 164"/>
                <a:gd name="T20" fmla="*/ 12 w 177"/>
                <a:gd name="T21" fmla="*/ 23 h 164"/>
                <a:gd name="T22" fmla="*/ 36 w 177"/>
                <a:gd name="T23" fmla="*/ 0 h 164"/>
                <a:gd name="T24" fmla="*/ 59 w 177"/>
                <a:gd name="T25" fmla="*/ 23 h 164"/>
                <a:gd name="T26" fmla="*/ 36 w 177"/>
                <a:gd name="T27" fmla="*/ 47 h 164"/>
                <a:gd name="T28" fmla="*/ 129 w 177"/>
                <a:gd name="T29" fmla="*/ 164 h 164"/>
                <a:gd name="T30" fmla="*/ 49 w 177"/>
                <a:gd name="T31" fmla="*/ 164 h 164"/>
                <a:gd name="T32" fmla="*/ 24 w 177"/>
                <a:gd name="T33" fmla="*/ 140 h 164"/>
                <a:gd name="T34" fmla="*/ 56 w 177"/>
                <a:gd name="T35" fmla="*/ 88 h 164"/>
                <a:gd name="T36" fmla="*/ 89 w 177"/>
                <a:gd name="T37" fmla="*/ 101 h 164"/>
                <a:gd name="T38" fmla="*/ 121 w 177"/>
                <a:gd name="T39" fmla="*/ 88 h 164"/>
                <a:gd name="T40" fmla="*/ 153 w 177"/>
                <a:gd name="T41" fmla="*/ 140 h 164"/>
                <a:gd name="T42" fmla="*/ 129 w 177"/>
                <a:gd name="T43" fmla="*/ 164 h 164"/>
                <a:gd name="T44" fmla="*/ 89 w 177"/>
                <a:gd name="T45" fmla="*/ 94 h 164"/>
                <a:gd name="T46" fmla="*/ 53 w 177"/>
                <a:gd name="T47" fmla="*/ 59 h 164"/>
                <a:gd name="T48" fmla="*/ 89 w 177"/>
                <a:gd name="T49" fmla="*/ 23 h 164"/>
                <a:gd name="T50" fmla="*/ 124 w 177"/>
                <a:gd name="T51" fmla="*/ 59 h 164"/>
                <a:gd name="T52" fmla="*/ 89 w 177"/>
                <a:gd name="T53" fmla="*/ 94 h 164"/>
                <a:gd name="T54" fmla="*/ 141 w 177"/>
                <a:gd name="T55" fmla="*/ 47 h 164"/>
                <a:gd name="T56" fmla="*/ 118 w 177"/>
                <a:gd name="T57" fmla="*/ 23 h 164"/>
                <a:gd name="T58" fmla="*/ 141 w 177"/>
                <a:gd name="T59" fmla="*/ 0 h 164"/>
                <a:gd name="T60" fmla="*/ 165 w 177"/>
                <a:gd name="T61" fmla="*/ 23 h 164"/>
                <a:gd name="T62" fmla="*/ 141 w 177"/>
                <a:gd name="T63" fmla="*/ 47 h 164"/>
                <a:gd name="T64" fmla="*/ 159 w 177"/>
                <a:gd name="T65" fmla="*/ 94 h 164"/>
                <a:gd name="T66" fmla="*/ 146 w 177"/>
                <a:gd name="T67" fmla="*/ 94 h 164"/>
                <a:gd name="T68" fmla="*/ 122 w 177"/>
                <a:gd name="T69" fmla="*/ 82 h 164"/>
                <a:gd name="T70" fmla="*/ 130 w 177"/>
                <a:gd name="T71" fmla="*/ 59 h 164"/>
                <a:gd name="T72" fmla="*/ 129 w 177"/>
                <a:gd name="T73" fmla="*/ 52 h 164"/>
                <a:gd name="T74" fmla="*/ 141 w 177"/>
                <a:gd name="T75" fmla="*/ 55 h 164"/>
                <a:gd name="T76" fmla="*/ 165 w 177"/>
                <a:gd name="T77" fmla="*/ 47 h 164"/>
                <a:gd name="T78" fmla="*/ 177 w 177"/>
                <a:gd name="T79" fmla="*/ 79 h 164"/>
                <a:gd name="T80" fmla="*/ 159 w 177"/>
                <a:gd name="T81" fmla="*/ 9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4">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a:spLocks/>
            </p:cNvSpPr>
            <p:nvPr/>
          </p:nvSpPr>
          <p:spPr bwMode="auto">
            <a:xfrm>
              <a:off x="3635896" y="1825130"/>
              <a:ext cx="465007" cy="465007"/>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61" name="Freeform 8"/>
            <p:cNvSpPr>
              <a:spLocks noEditPoints="1"/>
            </p:cNvSpPr>
            <p:nvPr/>
          </p:nvSpPr>
          <p:spPr bwMode="auto">
            <a:xfrm>
              <a:off x="3788568" y="1901620"/>
              <a:ext cx="201914" cy="300866"/>
            </a:xfrm>
            <a:custGeom>
              <a:avLst/>
              <a:gdLst>
                <a:gd name="T0" fmla="*/ 85 w 94"/>
                <a:gd name="T1" fmla="*/ 44 h 140"/>
                <a:gd name="T2" fmla="*/ 45 w 94"/>
                <a:gd name="T3" fmla="*/ 90 h 140"/>
                <a:gd name="T4" fmla="*/ 26 w 94"/>
                <a:gd name="T5" fmla="*/ 105 h 140"/>
                <a:gd name="T6" fmla="*/ 26 w 94"/>
                <a:gd name="T7" fmla="*/ 108 h 140"/>
                <a:gd name="T8" fmla="*/ 35 w 94"/>
                <a:gd name="T9" fmla="*/ 123 h 140"/>
                <a:gd name="T10" fmla="*/ 17 w 94"/>
                <a:gd name="T11" fmla="*/ 140 h 140"/>
                <a:gd name="T12" fmla="*/ 0 w 94"/>
                <a:gd name="T13" fmla="*/ 123 h 140"/>
                <a:gd name="T14" fmla="*/ 9 w 94"/>
                <a:gd name="T15" fmla="*/ 108 h 140"/>
                <a:gd name="T16" fmla="*/ 9 w 94"/>
                <a:gd name="T17" fmla="*/ 33 h 140"/>
                <a:gd name="T18" fmla="*/ 0 w 94"/>
                <a:gd name="T19" fmla="*/ 17 h 140"/>
                <a:gd name="T20" fmla="*/ 17 w 94"/>
                <a:gd name="T21" fmla="*/ 0 h 140"/>
                <a:gd name="T22" fmla="*/ 35 w 94"/>
                <a:gd name="T23" fmla="*/ 17 h 140"/>
                <a:gd name="T24" fmla="*/ 26 w 94"/>
                <a:gd name="T25" fmla="*/ 33 h 140"/>
                <a:gd name="T26" fmla="*/ 26 w 94"/>
                <a:gd name="T27" fmla="*/ 78 h 140"/>
                <a:gd name="T28" fmla="*/ 40 w 94"/>
                <a:gd name="T29" fmla="*/ 73 h 140"/>
                <a:gd name="T30" fmla="*/ 67 w 94"/>
                <a:gd name="T31" fmla="*/ 44 h 140"/>
                <a:gd name="T32" fmla="*/ 58 w 94"/>
                <a:gd name="T33" fmla="*/ 29 h 140"/>
                <a:gd name="T34" fmla="*/ 76 w 94"/>
                <a:gd name="T35" fmla="*/ 11 h 140"/>
                <a:gd name="T36" fmla="*/ 94 w 94"/>
                <a:gd name="T37" fmla="*/ 29 h 140"/>
                <a:gd name="T38" fmla="*/ 85 w 94"/>
                <a:gd name="T39" fmla="*/ 44 h 140"/>
                <a:gd name="T40" fmla="*/ 17 w 94"/>
                <a:gd name="T41" fmla="*/ 9 h 140"/>
                <a:gd name="T42" fmla="*/ 9 w 94"/>
                <a:gd name="T43" fmla="*/ 17 h 140"/>
                <a:gd name="T44" fmla="*/ 17 w 94"/>
                <a:gd name="T45" fmla="*/ 26 h 140"/>
                <a:gd name="T46" fmla="*/ 26 w 94"/>
                <a:gd name="T47" fmla="*/ 17 h 140"/>
                <a:gd name="T48" fmla="*/ 17 w 94"/>
                <a:gd name="T49" fmla="*/ 9 h 140"/>
                <a:gd name="T50" fmla="*/ 17 w 94"/>
                <a:gd name="T51" fmla="*/ 114 h 140"/>
                <a:gd name="T52" fmla="*/ 9 w 94"/>
                <a:gd name="T53" fmla="*/ 123 h 140"/>
                <a:gd name="T54" fmla="*/ 17 w 94"/>
                <a:gd name="T55" fmla="*/ 132 h 140"/>
                <a:gd name="T56" fmla="*/ 26 w 94"/>
                <a:gd name="T57" fmla="*/ 123 h 140"/>
                <a:gd name="T58" fmla="*/ 17 w 94"/>
                <a:gd name="T59" fmla="*/ 114 h 140"/>
                <a:gd name="T60" fmla="*/ 76 w 94"/>
                <a:gd name="T61" fmla="*/ 20 h 140"/>
                <a:gd name="T62" fmla="*/ 67 w 94"/>
                <a:gd name="T63" fmla="*/ 29 h 140"/>
                <a:gd name="T64" fmla="*/ 76 w 94"/>
                <a:gd name="T65" fmla="*/ 38 h 140"/>
                <a:gd name="T66" fmla="*/ 85 w 94"/>
                <a:gd name="T67" fmla="*/ 29 h 140"/>
                <a:gd name="T68" fmla="*/ 76 w 94"/>
                <a:gd name="T6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140">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grpSp>
        <p:nvGrpSpPr>
          <p:cNvPr id="62" name="Group 17"/>
          <p:cNvGrpSpPr/>
          <p:nvPr/>
        </p:nvGrpSpPr>
        <p:grpSpPr>
          <a:xfrm>
            <a:off x="6444316" y="1428830"/>
            <a:ext cx="473092" cy="464935"/>
            <a:chOff x="6365383" y="987574"/>
            <a:chExt cx="467298" cy="465007"/>
          </a:xfrm>
        </p:grpSpPr>
        <p:sp>
          <p:nvSpPr>
            <p:cNvPr id="63" name="Freeform 10"/>
            <p:cNvSpPr>
              <a:spLocks/>
            </p:cNvSpPr>
            <p:nvPr/>
          </p:nvSpPr>
          <p:spPr bwMode="auto">
            <a:xfrm>
              <a:off x="6365383" y="987574"/>
              <a:ext cx="467298" cy="465007"/>
            </a:xfrm>
            <a:custGeom>
              <a:avLst/>
              <a:gdLst>
                <a:gd name="T0" fmla="*/ 101 w 204"/>
                <a:gd name="T1" fmla="*/ 0 h 203"/>
                <a:gd name="T2" fmla="*/ 130 w 204"/>
                <a:gd name="T3" fmla="*/ 3 h 203"/>
                <a:gd name="T4" fmla="*/ 153 w 204"/>
                <a:gd name="T5" fmla="*/ 13 h 203"/>
                <a:gd name="T6" fmla="*/ 174 w 204"/>
                <a:gd name="T7" fmla="*/ 29 h 203"/>
                <a:gd name="T8" fmla="*/ 191 w 204"/>
                <a:gd name="T9" fmla="*/ 50 h 203"/>
                <a:gd name="T10" fmla="*/ 201 w 204"/>
                <a:gd name="T11" fmla="*/ 74 h 203"/>
                <a:gd name="T12" fmla="*/ 204 w 204"/>
                <a:gd name="T13" fmla="*/ 102 h 203"/>
                <a:gd name="T14" fmla="*/ 201 w 204"/>
                <a:gd name="T15" fmla="*/ 129 h 203"/>
                <a:gd name="T16" fmla="*/ 191 w 204"/>
                <a:gd name="T17" fmla="*/ 153 h 203"/>
                <a:gd name="T18" fmla="*/ 174 w 204"/>
                <a:gd name="T19" fmla="*/ 174 h 203"/>
                <a:gd name="T20" fmla="*/ 153 w 204"/>
                <a:gd name="T21" fmla="*/ 190 h 203"/>
                <a:gd name="T22" fmla="*/ 130 w 204"/>
                <a:gd name="T23" fmla="*/ 200 h 203"/>
                <a:gd name="T24" fmla="*/ 101 w 204"/>
                <a:gd name="T25" fmla="*/ 203 h 203"/>
                <a:gd name="T26" fmla="*/ 75 w 204"/>
                <a:gd name="T27" fmla="*/ 200 h 203"/>
                <a:gd name="T28" fmla="*/ 51 w 204"/>
                <a:gd name="T29" fmla="*/ 190 h 203"/>
                <a:gd name="T30" fmla="*/ 30 w 204"/>
                <a:gd name="T31" fmla="*/ 174 h 203"/>
                <a:gd name="T32" fmla="*/ 14 w 204"/>
                <a:gd name="T33" fmla="*/ 153 h 203"/>
                <a:gd name="T34" fmla="*/ 3 w 204"/>
                <a:gd name="T35" fmla="*/ 129 h 203"/>
                <a:gd name="T36" fmla="*/ 0 w 204"/>
                <a:gd name="T37" fmla="*/ 102 h 203"/>
                <a:gd name="T38" fmla="*/ 3 w 204"/>
                <a:gd name="T39" fmla="*/ 74 h 203"/>
                <a:gd name="T40" fmla="*/ 14 w 204"/>
                <a:gd name="T41" fmla="*/ 50 h 203"/>
                <a:gd name="T42" fmla="*/ 30 w 204"/>
                <a:gd name="T43" fmla="*/ 29 h 203"/>
                <a:gd name="T44" fmla="*/ 51 w 204"/>
                <a:gd name="T45" fmla="*/ 13 h 203"/>
                <a:gd name="T46" fmla="*/ 75 w 204"/>
                <a:gd name="T47" fmla="*/ 3 h 203"/>
                <a:gd name="T48" fmla="*/ 101 w 204"/>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3">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64" name="Freeform 9"/>
            <p:cNvSpPr>
              <a:spLocks noEditPoints="1"/>
            </p:cNvSpPr>
            <p:nvPr/>
          </p:nvSpPr>
          <p:spPr bwMode="auto">
            <a:xfrm>
              <a:off x="6458481" y="1121413"/>
              <a:ext cx="263683" cy="197326"/>
            </a:xfrm>
            <a:custGeom>
              <a:avLst/>
              <a:gdLst>
                <a:gd name="T0" fmla="*/ 302 w 302"/>
                <a:gd name="T1" fmla="*/ 226 h 226"/>
                <a:gd name="T2" fmla="*/ 0 w 302"/>
                <a:gd name="T3" fmla="*/ 226 h 226"/>
                <a:gd name="T4" fmla="*/ 0 w 302"/>
                <a:gd name="T5" fmla="*/ 0 h 226"/>
                <a:gd name="T6" fmla="*/ 17 w 302"/>
                <a:gd name="T7" fmla="*/ 0 h 226"/>
                <a:gd name="T8" fmla="*/ 17 w 302"/>
                <a:gd name="T9" fmla="*/ 206 h 226"/>
                <a:gd name="T10" fmla="*/ 302 w 302"/>
                <a:gd name="T11" fmla="*/ 206 h 226"/>
                <a:gd name="T12" fmla="*/ 302 w 302"/>
                <a:gd name="T13" fmla="*/ 226 h 226"/>
                <a:gd name="T14" fmla="*/ 282 w 302"/>
                <a:gd name="T15" fmla="*/ 188 h 226"/>
                <a:gd name="T16" fmla="*/ 37 w 302"/>
                <a:gd name="T17" fmla="*/ 188 h 226"/>
                <a:gd name="T18" fmla="*/ 37 w 302"/>
                <a:gd name="T19" fmla="*/ 103 h 226"/>
                <a:gd name="T20" fmla="*/ 103 w 302"/>
                <a:gd name="T21" fmla="*/ 17 h 226"/>
                <a:gd name="T22" fmla="*/ 189 w 302"/>
                <a:gd name="T23" fmla="*/ 103 h 226"/>
                <a:gd name="T24" fmla="*/ 245 w 302"/>
                <a:gd name="T25" fmla="*/ 56 h 226"/>
                <a:gd name="T26" fmla="*/ 282 w 302"/>
                <a:gd name="T27"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26">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a:spLocks/>
            </p:cNvSpPr>
            <p:nvPr/>
          </p:nvSpPr>
          <p:spPr bwMode="auto">
            <a:xfrm>
              <a:off x="4770914" y="3090921"/>
              <a:ext cx="465007" cy="469589"/>
            </a:xfrm>
            <a:custGeom>
              <a:avLst/>
              <a:gdLst>
                <a:gd name="T0" fmla="*/ 102 w 203"/>
                <a:gd name="T1" fmla="*/ 0 h 205"/>
                <a:gd name="T2" fmla="*/ 129 w 203"/>
                <a:gd name="T3" fmla="*/ 4 h 205"/>
                <a:gd name="T4" fmla="*/ 153 w 203"/>
                <a:gd name="T5" fmla="*/ 14 h 205"/>
                <a:gd name="T6" fmla="*/ 174 w 203"/>
                <a:gd name="T7" fmla="*/ 29 h 205"/>
                <a:gd name="T8" fmla="*/ 190 w 203"/>
                <a:gd name="T9" fmla="*/ 50 h 205"/>
                <a:gd name="T10" fmla="*/ 200 w 203"/>
                <a:gd name="T11" fmla="*/ 75 h 205"/>
                <a:gd name="T12" fmla="*/ 203 w 203"/>
                <a:gd name="T13" fmla="*/ 102 h 205"/>
                <a:gd name="T14" fmla="*/ 200 w 203"/>
                <a:gd name="T15" fmla="*/ 129 h 205"/>
                <a:gd name="T16" fmla="*/ 190 w 203"/>
                <a:gd name="T17" fmla="*/ 154 h 205"/>
                <a:gd name="T18" fmla="*/ 174 w 203"/>
                <a:gd name="T19" fmla="*/ 174 h 205"/>
                <a:gd name="T20" fmla="*/ 153 w 203"/>
                <a:gd name="T21" fmla="*/ 190 h 205"/>
                <a:gd name="T22" fmla="*/ 129 w 203"/>
                <a:gd name="T23" fmla="*/ 200 h 205"/>
                <a:gd name="T24" fmla="*/ 102 w 203"/>
                <a:gd name="T25" fmla="*/ 205 h 205"/>
                <a:gd name="T26" fmla="*/ 76 w 203"/>
                <a:gd name="T27" fmla="*/ 200 h 205"/>
                <a:gd name="T28" fmla="*/ 50 w 203"/>
                <a:gd name="T29" fmla="*/ 190 h 205"/>
                <a:gd name="T30" fmla="*/ 29 w 203"/>
                <a:gd name="T31" fmla="*/ 174 h 205"/>
                <a:gd name="T32" fmla="*/ 15 w 203"/>
                <a:gd name="T33" fmla="*/ 154 h 205"/>
                <a:gd name="T34" fmla="*/ 4 w 203"/>
                <a:gd name="T35" fmla="*/ 129 h 205"/>
                <a:gd name="T36" fmla="*/ 0 w 203"/>
                <a:gd name="T37" fmla="*/ 102 h 205"/>
                <a:gd name="T38" fmla="*/ 4 w 203"/>
                <a:gd name="T39" fmla="*/ 75 h 205"/>
                <a:gd name="T40" fmla="*/ 15 w 203"/>
                <a:gd name="T41" fmla="*/ 50 h 205"/>
                <a:gd name="T42" fmla="*/ 29 w 203"/>
                <a:gd name="T43" fmla="*/ 29 h 205"/>
                <a:gd name="T44" fmla="*/ 50 w 203"/>
                <a:gd name="T45" fmla="*/ 14 h 205"/>
                <a:gd name="T46" fmla="*/ 76 w 203"/>
                <a:gd name="T47" fmla="*/ 4 h 205"/>
                <a:gd name="T48" fmla="*/ 102 w 203"/>
                <a:gd name="T4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5">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67" name="Freeform 10"/>
            <p:cNvSpPr>
              <a:spLocks noEditPoints="1"/>
            </p:cNvSpPr>
            <p:nvPr/>
          </p:nvSpPr>
          <p:spPr bwMode="auto">
            <a:xfrm>
              <a:off x="4870438" y="3218381"/>
              <a:ext cx="260899" cy="203797"/>
            </a:xfrm>
            <a:custGeom>
              <a:avLst/>
              <a:gdLst>
                <a:gd name="T0" fmla="*/ 164 w 164"/>
                <a:gd name="T1" fmla="*/ 114 h 128"/>
                <a:gd name="T2" fmla="*/ 149 w 164"/>
                <a:gd name="T3" fmla="*/ 128 h 128"/>
                <a:gd name="T4" fmla="*/ 15 w 164"/>
                <a:gd name="T5" fmla="*/ 128 h 128"/>
                <a:gd name="T6" fmla="*/ 0 w 164"/>
                <a:gd name="T7" fmla="*/ 114 h 128"/>
                <a:gd name="T8" fmla="*/ 0 w 164"/>
                <a:gd name="T9" fmla="*/ 14 h 128"/>
                <a:gd name="T10" fmla="*/ 15 w 164"/>
                <a:gd name="T11" fmla="*/ 0 h 128"/>
                <a:gd name="T12" fmla="*/ 149 w 164"/>
                <a:gd name="T13" fmla="*/ 0 h 128"/>
                <a:gd name="T14" fmla="*/ 164 w 164"/>
                <a:gd name="T15" fmla="*/ 14 h 128"/>
                <a:gd name="T16" fmla="*/ 164 w 164"/>
                <a:gd name="T17" fmla="*/ 114 h 128"/>
                <a:gd name="T18" fmla="*/ 149 w 164"/>
                <a:gd name="T19" fmla="*/ 11 h 128"/>
                <a:gd name="T20" fmla="*/ 15 w 164"/>
                <a:gd name="T21" fmla="*/ 11 h 128"/>
                <a:gd name="T22" fmla="*/ 12 w 164"/>
                <a:gd name="T23" fmla="*/ 14 h 128"/>
                <a:gd name="T24" fmla="*/ 25 w 164"/>
                <a:gd name="T25" fmla="*/ 40 h 128"/>
                <a:gd name="T26" fmla="*/ 62 w 164"/>
                <a:gd name="T27" fmla="*/ 69 h 128"/>
                <a:gd name="T28" fmla="*/ 82 w 164"/>
                <a:gd name="T29" fmla="*/ 82 h 128"/>
                <a:gd name="T30" fmla="*/ 82 w 164"/>
                <a:gd name="T31" fmla="*/ 82 h 128"/>
                <a:gd name="T32" fmla="*/ 82 w 164"/>
                <a:gd name="T33" fmla="*/ 82 h 128"/>
                <a:gd name="T34" fmla="*/ 102 w 164"/>
                <a:gd name="T35" fmla="*/ 69 h 128"/>
                <a:gd name="T36" fmla="*/ 139 w 164"/>
                <a:gd name="T37" fmla="*/ 40 h 128"/>
                <a:gd name="T38" fmla="*/ 152 w 164"/>
                <a:gd name="T39" fmla="*/ 18 h 128"/>
                <a:gd name="T40" fmla="*/ 149 w 164"/>
                <a:gd name="T41" fmla="*/ 11 h 128"/>
                <a:gd name="T42" fmla="*/ 152 w 164"/>
                <a:gd name="T43" fmla="*/ 43 h 128"/>
                <a:gd name="T44" fmla="*/ 146 w 164"/>
                <a:gd name="T45" fmla="*/ 50 h 128"/>
                <a:gd name="T46" fmla="*/ 107 w 164"/>
                <a:gd name="T47" fmla="*/ 80 h 128"/>
                <a:gd name="T48" fmla="*/ 82 w 164"/>
                <a:gd name="T49" fmla="*/ 93 h 128"/>
                <a:gd name="T50" fmla="*/ 82 w 164"/>
                <a:gd name="T51" fmla="*/ 93 h 128"/>
                <a:gd name="T52" fmla="*/ 82 w 164"/>
                <a:gd name="T53" fmla="*/ 93 h 128"/>
                <a:gd name="T54" fmla="*/ 57 w 164"/>
                <a:gd name="T55" fmla="*/ 80 h 128"/>
                <a:gd name="T56" fmla="*/ 18 w 164"/>
                <a:gd name="T57" fmla="*/ 50 h 128"/>
                <a:gd name="T58" fmla="*/ 12 w 164"/>
                <a:gd name="T59" fmla="*/ 43 h 128"/>
                <a:gd name="T60" fmla="*/ 12 w 164"/>
                <a:gd name="T61" fmla="*/ 114 h 128"/>
                <a:gd name="T62" fmla="*/ 15 w 164"/>
                <a:gd name="T63" fmla="*/ 117 h 128"/>
                <a:gd name="T64" fmla="*/ 149 w 164"/>
                <a:gd name="T65" fmla="*/ 117 h 128"/>
                <a:gd name="T66" fmla="*/ 152 w 164"/>
                <a:gd name="T67" fmla="*/ 114 h 128"/>
                <a:gd name="T68" fmla="*/ 152 w 164"/>
                <a:gd name="T69"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28">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a:spLocks/>
            </p:cNvSpPr>
            <p:nvPr/>
          </p:nvSpPr>
          <p:spPr bwMode="auto">
            <a:xfrm>
              <a:off x="7850778" y="1338532"/>
              <a:ext cx="467298" cy="467298"/>
            </a:xfrm>
            <a:custGeom>
              <a:avLst/>
              <a:gdLst>
                <a:gd name="T0" fmla="*/ 101 w 204"/>
                <a:gd name="T1" fmla="*/ 0 h 204"/>
                <a:gd name="T2" fmla="*/ 129 w 204"/>
                <a:gd name="T3" fmla="*/ 3 h 204"/>
                <a:gd name="T4" fmla="*/ 153 w 204"/>
                <a:gd name="T5" fmla="*/ 13 h 204"/>
                <a:gd name="T6" fmla="*/ 174 w 204"/>
                <a:gd name="T7" fmla="*/ 30 h 204"/>
                <a:gd name="T8" fmla="*/ 190 w 204"/>
                <a:gd name="T9" fmla="*/ 51 h 204"/>
                <a:gd name="T10" fmla="*/ 201 w 204"/>
                <a:gd name="T11" fmla="*/ 74 h 204"/>
                <a:gd name="T12" fmla="*/ 204 w 204"/>
                <a:gd name="T13" fmla="*/ 101 h 204"/>
                <a:gd name="T14" fmla="*/ 201 w 204"/>
                <a:gd name="T15" fmla="*/ 128 h 204"/>
                <a:gd name="T16" fmla="*/ 190 w 204"/>
                <a:gd name="T17" fmla="*/ 153 h 204"/>
                <a:gd name="T18" fmla="*/ 174 w 204"/>
                <a:gd name="T19" fmla="*/ 174 h 204"/>
                <a:gd name="T20" fmla="*/ 153 w 204"/>
                <a:gd name="T21" fmla="*/ 189 h 204"/>
                <a:gd name="T22" fmla="*/ 129 w 204"/>
                <a:gd name="T23" fmla="*/ 199 h 204"/>
                <a:gd name="T24" fmla="*/ 101 w 204"/>
                <a:gd name="T25" fmla="*/ 204 h 204"/>
                <a:gd name="T26" fmla="*/ 74 w 204"/>
                <a:gd name="T27" fmla="*/ 199 h 204"/>
                <a:gd name="T28" fmla="*/ 51 w 204"/>
                <a:gd name="T29" fmla="*/ 189 h 204"/>
                <a:gd name="T30" fmla="*/ 30 w 204"/>
                <a:gd name="T31" fmla="*/ 174 h 204"/>
                <a:gd name="T32" fmla="*/ 13 w 204"/>
                <a:gd name="T33" fmla="*/ 153 h 204"/>
                <a:gd name="T34" fmla="*/ 3 w 204"/>
                <a:gd name="T35" fmla="*/ 128 h 204"/>
                <a:gd name="T36" fmla="*/ 0 w 204"/>
                <a:gd name="T37" fmla="*/ 101 h 204"/>
                <a:gd name="T38" fmla="*/ 3 w 204"/>
                <a:gd name="T39" fmla="*/ 74 h 204"/>
                <a:gd name="T40" fmla="*/ 13 w 204"/>
                <a:gd name="T41" fmla="*/ 51 h 204"/>
                <a:gd name="T42" fmla="*/ 30 w 204"/>
                <a:gd name="T43" fmla="*/ 30 h 204"/>
                <a:gd name="T44" fmla="*/ 51 w 204"/>
                <a:gd name="T45" fmla="*/ 13 h 204"/>
                <a:gd name="T46" fmla="*/ 74 w 204"/>
                <a:gd name="T47" fmla="*/ 3 h 204"/>
                <a:gd name="T48" fmla="*/ 101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sp>
          <p:nvSpPr>
            <p:cNvPr id="70" name="Freeform 11"/>
            <p:cNvSpPr>
              <a:spLocks noEditPoints="1"/>
            </p:cNvSpPr>
            <p:nvPr/>
          </p:nvSpPr>
          <p:spPr bwMode="auto">
            <a:xfrm>
              <a:off x="7954681" y="1439214"/>
              <a:ext cx="254730" cy="253695"/>
            </a:xfrm>
            <a:custGeom>
              <a:avLst/>
              <a:gdLst>
                <a:gd name="T0" fmla="*/ 141 w 152"/>
                <a:gd name="T1" fmla="*/ 152 h 152"/>
                <a:gd name="T2" fmla="*/ 132 w 152"/>
                <a:gd name="T3" fmla="*/ 148 h 152"/>
                <a:gd name="T4" fmla="*/ 101 w 152"/>
                <a:gd name="T5" fmla="*/ 117 h 152"/>
                <a:gd name="T6" fmla="*/ 65 w 152"/>
                <a:gd name="T7" fmla="*/ 128 h 152"/>
                <a:gd name="T8" fmla="*/ 0 w 152"/>
                <a:gd name="T9" fmla="*/ 64 h 152"/>
                <a:gd name="T10" fmla="*/ 65 w 152"/>
                <a:gd name="T11" fmla="*/ 0 h 152"/>
                <a:gd name="T12" fmla="*/ 129 w 152"/>
                <a:gd name="T13" fmla="*/ 64 h 152"/>
                <a:gd name="T14" fmla="*/ 118 w 152"/>
                <a:gd name="T15" fmla="*/ 100 h 152"/>
                <a:gd name="T16" fmla="*/ 149 w 152"/>
                <a:gd name="T17" fmla="*/ 132 h 152"/>
                <a:gd name="T18" fmla="*/ 152 w 152"/>
                <a:gd name="T19" fmla="*/ 140 h 152"/>
                <a:gd name="T20" fmla="*/ 141 w 152"/>
                <a:gd name="T21" fmla="*/ 152 h 152"/>
                <a:gd name="T22" fmla="*/ 65 w 152"/>
                <a:gd name="T23" fmla="*/ 23 h 152"/>
                <a:gd name="T24" fmla="*/ 24 w 152"/>
                <a:gd name="T25" fmla="*/ 64 h 152"/>
                <a:gd name="T26" fmla="*/ 65 w 152"/>
                <a:gd name="T27" fmla="*/ 105 h 152"/>
                <a:gd name="T28" fmla="*/ 106 w 152"/>
                <a:gd name="T29" fmla="*/ 64 h 152"/>
                <a:gd name="T30" fmla="*/ 65 w 152"/>
                <a:gd name="T31"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FZSJ-YANGGNH" panose="02010600010101010101" pitchFamily="2" charset="-122"/>
                <a:ea typeface="FZSJ-YANGGNH" panose="02010600010101010101" pitchFamily="2" charset="-122"/>
                <a:sym typeface="Gill Sans" charset="0"/>
              </a:endParaRPr>
            </a:p>
          </p:txBody>
        </p:sp>
      </p:grpSp>
    </p:spTree>
    <p:extLst>
      <p:ext uri="{BB962C8B-B14F-4D97-AF65-F5344CB8AC3E}">
        <p14:creationId xmlns:p14="http://schemas.microsoft.com/office/powerpoint/2010/main" val="237149842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p:cTn id="11" dur="500" fill="hold"/>
                                        <p:tgtEl>
                                          <p:spTgt spid="56"/>
                                        </p:tgtEl>
                                        <p:attrNameLst>
                                          <p:attrName>ppt_w</p:attrName>
                                        </p:attrNameLst>
                                      </p:cBhvr>
                                      <p:tavLst>
                                        <p:tav tm="0">
                                          <p:val>
                                            <p:fltVal val="0"/>
                                          </p:val>
                                        </p:tav>
                                        <p:tav tm="100000">
                                          <p:val>
                                            <p:strVal val="#ppt_w"/>
                                          </p:val>
                                        </p:tav>
                                      </p:tavLst>
                                    </p:anim>
                                    <p:anim calcmode="lin" valueType="num">
                                      <p:cBhvr>
                                        <p:cTn id="12" dur="500" fill="hold"/>
                                        <p:tgtEl>
                                          <p:spTgt spid="56"/>
                                        </p:tgtEl>
                                        <p:attrNameLst>
                                          <p:attrName>ppt_h</p:attrName>
                                        </p:attrNameLst>
                                      </p:cBhvr>
                                      <p:tavLst>
                                        <p:tav tm="0">
                                          <p:val>
                                            <p:fltVal val="0"/>
                                          </p:val>
                                        </p:tav>
                                        <p:tav tm="100000">
                                          <p:val>
                                            <p:strVal val="#ppt_h"/>
                                          </p:val>
                                        </p:tav>
                                      </p:tavLst>
                                    </p:anim>
                                    <p:animEffect transition="in" filter="fade">
                                      <p:cBhvr>
                                        <p:cTn id="13" dur="500"/>
                                        <p:tgtEl>
                                          <p:spTgt spid="5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53" presetClass="entr" presetSubtype="16" fill="hold" nodeType="withEffect">
                                  <p:stCondLst>
                                    <p:cond delay="0"/>
                                  </p:stCondLst>
                                  <p:childTnLst>
                                    <p:set>
                                      <p:cBhvr>
                                        <p:cTn id="23" dur="1" fill="hold">
                                          <p:stCondLst>
                                            <p:cond delay="0"/>
                                          </p:stCondLst>
                                        </p:cTn>
                                        <p:tgtEl>
                                          <p:spTgt spid="59"/>
                                        </p:tgtEl>
                                        <p:attrNameLst>
                                          <p:attrName>style.visibility</p:attrName>
                                        </p:attrNameLst>
                                      </p:cBhvr>
                                      <p:to>
                                        <p:strVal val="visible"/>
                                      </p:to>
                                    </p:set>
                                    <p:anim calcmode="lin" valueType="num">
                                      <p:cBhvr>
                                        <p:cTn id="24" dur="500" fill="hold"/>
                                        <p:tgtEl>
                                          <p:spTgt spid="59"/>
                                        </p:tgtEl>
                                        <p:attrNameLst>
                                          <p:attrName>ppt_w</p:attrName>
                                        </p:attrNameLst>
                                      </p:cBhvr>
                                      <p:tavLst>
                                        <p:tav tm="0">
                                          <p:val>
                                            <p:fltVal val="0"/>
                                          </p:val>
                                        </p:tav>
                                        <p:tav tm="100000">
                                          <p:val>
                                            <p:strVal val="#ppt_w"/>
                                          </p:val>
                                        </p:tav>
                                      </p:tavLst>
                                    </p:anim>
                                    <p:anim calcmode="lin" valueType="num">
                                      <p:cBhvr>
                                        <p:cTn id="25" dur="500" fill="hold"/>
                                        <p:tgtEl>
                                          <p:spTgt spid="59"/>
                                        </p:tgtEl>
                                        <p:attrNameLst>
                                          <p:attrName>ppt_h</p:attrName>
                                        </p:attrNameLst>
                                      </p:cBhvr>
                                      <p:tavLst>
                                        <p:tav tm="0">
                                          <p:val>
                                            <p:fltVal val="0"/>
                                          </p:val>
                                        </p:tav>
                                        <p:tav tm="100000">
                                          <p:val>
                                            <p:strVal val="#ppt_h"/>
                                          </p:val>
                                        </p:tav>
                                      </p:tavLst>
                                    </p:anim>
                                    <p:animEffect transition="in" filter="fade">
                                      <p:cBhvr>
                                        <p:cTn id="26" dur="500"/>
                                        <p:tgtEl>
                                          <p:spTgt spid="59"/>
                                        </p:tgtEl>
                                      </p:cBhvr>
                                    </p:animEffect>
                                  </p:childTnLst>
                                </p:cTn>
                              </p:par>
                            </p:childTnLst>
                          </p:cTn>
                        </p:par>
                        <p:par>
                          <p:cTn id="27" fill="hold">
                            <p:stCondLst>
                              <p:cond delay="2000"/>
                            </p:stCondLst>
                            <p:childTnLst>
                              <p:par>
                                <p:cTn id="28" presetID="22" presetClass="entr" presetSubtype="1"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wipe(up)">
                                      <p:cBhvr>
                                        <p:cTn id="30" dur="500"/>
                                        <p:tgtEl>
                                          <p:spTgt spid="38"/>
                                        </p:tgtEl>
                                      </p:cBhvr>
                                    </p:animEffect>
                                  </p:childTnLst>
                                </p:cTn>
                              </p:par>
                            </p:childTnLst>
                          </p:cTn>
                        </p:par>
                        <p:par>
                          <p:cTn id="31" fill="hold">
                            <p:stCondLst>
                              <p:cond delay="2500"/>
                            </p:stCondLst>
                            <p:childTnLst>
                              <p:par>
                                <p:cTn id="32" presetID="53" presetClass="entr" presetSubtype="16"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 calcmode="lin" valueType="num">
                                      <p:cBhvr>
                                        <p:cTn id="34" dur="500" fill="hold"/>
                                        <p:tgtEl>
                                          <p:spTgt spid="65"/>
                                        </p:tgtEl>
                                        <p:attrNameLst>
                                          <p:attrName>ppt_w</p:attrName>
                                        </p:attrNameLst>
                                      </p:cBhvr>
                                      <p:tavLst>
                                        <p:tav tm="0">
                                          <p:val>
                                            <p:fltVal val="0"/>
                                          </p:val>
                                        </p:tav>
                                        <p:tav tm="100000">
                                          <p:val>
                                            <p:strVal val="#ppt_w"/>
                                          </p:val>
                                        </p:tav>
                                      </p:tavLst>
                                    </p:anim>
                                    <p:anim calcmode="lin" valueType="num">
                                      <p:cBhvr>
                                        <p:cTn id="35" dur="500" fill="hold"/>
                                        <p:tgtEl>
                                          <p:spTgt spid="65"/>
                                        </p:tgtEl>
                                        <p:attrNameLst>
                                          <p:attrName>ppt_h</p:attrName>
                                        </p:attrNameLst>
                                      </p:cBhvr>
                                      <p:tavLst>
                                        <p:tav tm="0">
                                          <p:val>
                                            <p:fltVal val="0"/>
                                          </p:val>
                                        </p:tav>
                                        <p:tav tm="100000">
                                          <p:val>
                                            <p:strVal val="#ppt_h"/>
                                          </p:val>
                                        </p:tav>
                                      </p:tavLst>
                                    </p:anim>
                                    <p:animEffect transition="in" filter="fade">
                                      <p:cBhvr>
                                        <p:cTn id="36" dur="500"/>
                                        <p:tgtEl>
                                          <p:spTgt spid="65"/>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up)">
                                      <p:cBhvr>
                                        <p:cTn id="40" dur="500"/>
                                        <p:tgtEl>
                                          <p:spTgt spid="44"/>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wipe(left)">
                                      <p:cBhvr>
                                        <p:cTn id="44" dur="500"/>
                                        <p:tgtEl>
                                          <p:spTgt spid="33"/>
                                        </p:tgtEl>
                                      </p:cBhvr>
                                    </p:animEffect>
                                  </p:childTnLst>
                                </p:cTn>
                              </p:par>
                              <p:par>
                                <p:cTn id="45" presetID="53" presetClass="entr" presetSubtype="16"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 calcmode="lin" valueType="num">
                                      <p:cBhvr>
                                        <p:cTn id="47" dur="500" fill="hold"/>
                                        <p:tgtEl>
                                          <p:spTgt spid="53"/>
                                        </p:tgtEl>
                                        <p:attrNameLst>
                                          <p:attrName>ppt_w</p:attrName>
                                        </p:attrNameLst>
                                      </p:cBhvr>
                                      <p:tavLst>
                                        <p:tav tm="0">
                                          <p:val>
                                            <p:fltVal val="0"/>
                                          </p:val>
                                        </p:tav>
                                        <p:tav tm="100000">
                                          <p:val>
                                            <p:strVal val="#ppt_w"/>
                                          </p:val>
                                        </p:tav>
                                      </p:tavLst>
                                    </p:anim>
                                    <p:anim calcmode="lin" valueType="num">
                                      <p:cBhvr>
                                        <p:cTn id="48" dur="500" fill="hold"/>
                                        <p:tgtEl>
                                          <p:spTgt spid="53"/>
                                        </p:tgtEl>
                                        <p:attrNameLst>
                                          <p:attrName>ppt_h</p:attrName>
                                        </p:attrNameLst>
                                      </p:cBhvr>
                                      <p:tavLst>
                                        <p:tav tm="0">
                                          <p:val>
                                            <p:fltVal val="0"/>
                                          </p:val>
                                        </p:tav>
                                        <p:tav tm="100000">
                                          <p:val>
                                            <p:strVal val="#ppt_h"/>
                                          </p:val>
                                        </p:tav>
                                      </p:tavLst>
                                    </p:anim>
                                    <p:animEffect transition="in" filter="fade">
                                      <p:cBhvr>
                                        <p:cTn id="49" dur="500"/>
                                        <p:tgtEl>
                                          <p:spTgt spid="53"/>
                                        </p:tgtEl>
                                      </p:cBhvr>
                                    </p:animEffect>
                                  </p:childTnLst>
                                </p:cTn>
                              </p:par>
                            </p:childTnLst>
                          </p:cTn>
                        </p:par>
                        <p:par>
                          <p:cTn id="50" fill="hold">
                            <p:stCondLst>
                              <p:cond delay="4000"/>
                            </p:stCondLst>
                            <p:childTnLst>
                              <p:par>
                                <p:cTn id="51" presetID="22" presetClass="entr" presetSubtype="1" fill="hold" nodeType="afterEffect">
                                  <p:stCondLst>
                                    <p:cond delay="0"/>
                                  </p:stCondLst>
                                  <p:childTnLst>
                                    <p:set>
                                      <p:cBhvr>
                                        <p:cTn id="52" dur="1" fill="hold">
                                          <p:stCondLst>
                                            <p:cond delay="0"/>
                                          </p:stCondLst>
                                        </p:cTn>
                                        <p:tgtEl>
                                          <p:spTgt spid="47"/>
                                        </p:tgtEl>
                                        <p:attrNameLst>
                                          <p:attrName>style.visibility</p:attrName>
                                        </p:attrNameLst>
                                      </p:cBhvr>
                                      <p:to>
                                        <p:strVal val="visible"/>
                                      </p:to>
                                    </p:set>
                                    <p:animEffect transition="in" filter="wipe(up)">
                                      <p:cBhvr>
                                        <p:cTn id="53" dur="500"/>
                                        <p:tgtEl>
                                          <p:spTgt spid="47"/>
                                        </p:tgtEl>
                                      </p:cBhvr>
                                    </p:animEffect>
                                  </p:childTnLst>
                                </p:cTn>
                              </p:par>
                            </p:childTnLst>
                          </p:cTn>
                        </p:par>
                        <p:par>
                          <p:cTn id="54" fill="hold">
                            <p:stCondLst>
                              <p:cond delay="4500"/>
                            </p:stCondLst>
                            <p:childTnLst>
                              <p:par>
                                <p:cTn id="55" presetID="22" presetClass="entr" presetSubtype="4"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down)">
                                      <p:cBhvr>
                                        <p:cTn id="57" dur="500"/>
                                        <p:tgtEl>
                                          <p:spTgt spid="37"/>
                                        </p:tgtEl>
                                      </p:cBhvr>
                                    </p:animEffect>
                                  </p:childTnLst>
                                </p:cTn>
                              </p:par>
                              <p:par>
                                <p:cTn id="58" presetID="53" presetClass="entr" presetSubtype="16" fill="hold" nodeType="withEffect">
                                  <p:stCondLst>
                                    <p:cond delay="0"/>
                                  </p:stCondLst>
                                  <p:childTnLst>
                                    <p:set>
                                      <p:cBhvr>
                                        <p:cTn id="59" dur="1" fill="hold">
                                          <p:stCondLst>
                                            <p:cond delay="0"/>
                                          </p:stCondLst>
                                        </p:cTn>
                                        <p:tgtEl>
                                          <p:spTgt spid="62"/>
                                        </p:tgtEl>
                                        <p:attrNameLst>
                                          <p:attrName>style.visibility</p:attrName>
                                        </p:attrNameLst>
                                      </p:cBhvr>
                                      <p:to>
                                        <p:strVal val="visible"/>
                                      </p:to>
                                    </p:set>
                                    <p:anim calcmode="lin" valueType="num">
                                      <p:cBhvr>
                                        <p:cTn id="60" dur="500" fill="hold"/>
                                        <p:tgtEl>
                                          <p:spTgt spid="62"/>
                                        </p:tgtEl>
                                        <p:attrNameLst>
                                          <p:attrName>ppt_w</p:attrName>
                                        </p:attrNameLst>
                                      </p:cBhvr>
                                      <p:tavLst>
                                        <p:tav tm="0">
                                          <p:val>
                                            <p:fltVal val="0"/>
                                          </p:val>
                                        </p:tav>
                                        <p:tav tm="100000">
                                          <p:val>
                                            <p:strVal val="#ppt_w"/>
                                          </p:val>
                                        </p:tav>
                                      </p:tavLst>
                                    </p:anim>
                                    <p:anim calcmode="lin" valueType="num">
                                      <p:cBhvr>
                                        <p:cTn id="61" dur="500" fill="hold"/>
                                        <p:tgtEl>
                                          <p:spTgt spid="62"/>
                                        </p:tgtEl>
                                        <p:attrNameLst>
                                          <p:attrName>ppt_h</p:attrName>
                                        </p:attrNameLst>
                                      </p:cBhvr>
                                      <p:tavLst>
                                        <p:tav tm="0">
                                          <p:val>
                                            <p:fltVal val="0"/>
                                          </p:val>
                                        </p:tav>
                                        <p:tav tm="100000">
                                          <p:val>
                                            <p:strVal val="#ppt_h"/>
                                          </p:val>
                                        </p:tav>
                                      </p:tavLst>
                                    </p:anim>
                                    <p:animEffect transition="in" filter="fade">
                                      <p:cBhvr>
                                        <p:cTn id="62" dur="500"/>
                                        <p:tgtEl>
                                          <p:spTgt spid="62"/>
                                        </p:tgtEl>
                                      </p:cBhvr>
                                    </p:animEffect>
                                  </p:childTnLst>
                                </p:cTn>
                              </p:par>
                            </p:childTnLst>
                          </p:cTn>
                        </p:par>
                        <p:par>
                          <p:cTn id="63" fill="hold">
                            <p:stCondLst>
                              <p:cond delay="5000"/>
                            </p:stCondLst>
                            <p:childTnLst>
                              <p:par>
                                <p:cTn id="64" presetID="22" presetClass="entr" presetSubtype="1" fill="hold" nodeType="after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ipe(up)">
                                      <p:cBhvr>
                                        <p:cTn id="66" dur="500"/>
                                        <p:tgtEl>
                                          <p:spTgt spid="41"/>
                                        </p:tgtEl>
                                      </p:cBhvr>
                                    </p:animEffect>
                                  </p:childTnLst>
                                </p:cTn>
                              </p:par>
                            </p:childTnLst>
                          </p:cTn>
                        </p:par>
                        <p:par>
                          <p:cTn id="67" fill="hold">
                            <p:stCondLst>
                              <p:cond delay="5500"/>
                            </p:stCondLst>
                            <p:childTnLst>
                              <p:par>
                                <p:cTn id="68" presetID="53" presetClass="entr" presetSubtype="16" fill="hold" nodeType="afterEffect">
                                  <p:stCondLst>
                                    <p:cond delay="0"/>
                                  </p:stCondLst>
                                  <p:childTnLst>
                                    <p:set>
                                      <p:cBhvr>
                                        <p:cTn id="69" dur="1" fill="hold">
                                          <p:stCondLst>
                                            <p:cond delay="0"/>
                                          </p:stCondLst>
                                        </p:cTn>
                                        <p:tgtEl>
                                          <p:spTgt spid="68"/>
                                        </p:tgtEl>
                                        <p:attrNameLst>
                                          <p:attrName>style.visibility</p:attrName>
                                        </p:attrNameLst>
                                      </p:cBhvr>
                                      <p:to>
                                        <p:strVal val="visible"/>
                                      </p:to>
                                    </p:set>
                                    <p:anim calcmode="lin" valueType="num">
                                      <p:cBhvr>
                                        <p:cTn id="70" dur="500" fill="hold"/>
                                        <p:tgtEl>
                                          <p:spTgt spid="68"/>
                                        </p:tgtEl>
                                        <p:attrNameLst>
                                          <p:attrName>ppt_w</p:attrName>
                                        </p:attrNameLst>
                                      </p:cBhvr>
                                      <p:tavLst>
                                        <p:tav tm="0">
                                          <p:val>
                                            <p:fltVal val="0"/>
                                          </p:val>
                                        </p:tav>
                                        <p:tav tm="100000">
                                          <p:val>
                                            <p:strVal val="#ppt_w"/>
                                          </p:val>
                                        </p:tav>
                                      </p:tavLst>
                                    </p:anim>
                                    <p:anim calcmode="lin" valueType="num">
                                      <p:cBhvr>
                                        <p:cTn id="71" dur="500" fill="hold"/>
                                        <p:tgtEl>
                                          <p:spTgt spid="68"/>
                                        </p:tgtEl>
                                        <p:attrNameLst>
                                          <p:attrName>ppt_h</p:attrName>
                                        </p:attrNameLst>
                                      </p:cBhvr>
                                      <p:tavLst>
                                        <p:tav tm="0">
                                          <p:val>
                                            <p:fltVal val="0"/>
                                          </p:val>
                                        </p:tav>
                                        <p:tav tm="100000">
                                          <p:val>
                                            <p:strVal val="#ppt_h"/>
                                          </p:val>
                                        </p:tav>
                                      </p:tavLst>
                                    </p:anim>
                                    <p:animEffect transition="in" filter="fade">
                                      <p:cBhvr>
                                        <p:cTn id="72" dur="500"/>
                                        <p:tgtEl>
                                          <p:spTgt spid="68"/>
                                        </p:tgtEl>
                                      </p:cBhvr>
                                    </p:animEffect>
                                  </p:childTnLst>
                                </p:cTn>
                              </p:par>
                            </p:childTnLst>
                          </p:cTn>
                        </p:par>
                        <p:par>
                          <p:cTn id="73" fill="hold">
                            <p:stCondLst>
                              <p:cond delay="6000"/>
                            </p:stCondLst>
                            <p:childTnLst>
                              <p:par>
                                <p:cTn id="74" presetID="22" presetClass="entr" presetSubtype="1" fill="hold" nodeType="after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wipe(up)">
                                      <p:cBhvr>
                                        <p:cTn id="7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195105" cy="1015663"/>
          </a:xfrm>
          <a:prstGeom prst="rect">
            <a:avLst/>
          </a:prstGeom>
          <a:noFill/>
        </p:spPr>
        <p:txBody>
          <a:bodyPr wrap="none" rtlCol="0">
            <a:spAutoFit/>
          </a:bodyPr>
          <a:lstStyle/>
          <a:p>
            <a:r>
              <a:rPr lang="en-US" altLang="zh-CN" sz="6000" dirty="0" smtClean="0">
                <a:solidFill>
                  <a:srgbClr val="829662"/>
                </a:solidFill>
                <a:latin typeface="FZSJ-YANGGNH" panose="02010600010101010101" pitchFamily="2" charset="-122"/>
                <a:ea typeface="FZSJ-YANGGNH" panose="02010600010101010101" pitchFamily="2" charset="-122"/>
              </a:rPr>
              <a:t>04content</a:t>
            </a:r>
            <a:endParaRPr lang="zh-CN" altLang="en-US" sz="6000" dirty="0">
              <a:solidFill>
                <a:srgbClr val="829662"/>
              </a:solidFill>
              <a:latin typeface="FZSJ-YANGGNH" panose="02010600010101010101" pitchFamily="2" charset="-122"/>
              <a:ea typeface="FZSJ-YANGGNH" panose="02010600010101010101" pitchFamily="2" charset="-122"/>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82900372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FZSJ-YANGGNH" panose="02010600010101010101" pitchFamily="2" charset="-122"/>
                <a:ea typeface="FZSJ-YANGGNH" panose="02010600010101010101" pitchFamily="2" charset="-122"/>
              </a:rPr>
              <a:t>标题内容</a:t>
            </a:r>
            <a:endParaRPr lang="en-US" altLang="zh-CN" sz="2800" dirty="0">
              <a:solidFill>
                <a:schemeClr val="tx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a:grpSpLocks noChangeAspect="1"/>
          </p:cNvGrpSpPr>
          <p:nvPr/>
        </p:nvGrpSpPr>
        <p:grpSpPr>
          <a:xfrm>
            <a:off x="1135050" y="1238853"/>
            <a:ext cx="3241903" cy="3904647"/>
            <a:chOff x="1141364" y="649312"/>
            <a:chExt cx="4276566" cy="5150844"/>
          </a:xfrm>
        </p:grpSpPr>
        <p:sp>
          <p:nvSpPr>
            <p:cNvPr id="9" name="任意多边形 8"/>
            <p:cNvSpPr/>
            <p:nvPr/>
          </p:nvSpPr>
          <p:spPr>
            <a:xfrm>
              <a:off x="1491356" y="1307806"/>
              <a:ext cx="3638574" cy="4492350"/>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FZSJ-YANGGNH" panose="02010600010101010101" pitchFamily="2" charset="-122"/>
                  <a:ea typeface="FZSJ-YANGGNH" panose="02010600010101010101" pitchFamily="2" charset="-122"/>
                </a:rPr>
                <a:t>标题</a:t>
              </a:r>
              <a:endParaRPr lang="zh-CN" altLang="en-US" sz="825" dirty="0">
                <a:solidFill>
                  <a:srgbClr val="FFFFFF"/>
                </a:solidFill>
                <a:latin typeface="FZSJ-YANGGNH" panose="02010600010101010101" pitchFamily="2" charset="-122"/>
                <a:ea typeface="FZSJ-YANGGNH" panose="02010600010101010101" pitchFamily="2" charset="-122"/>
              </a:endParaRP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3" dirty="0" smtClean="0">
                  <a:solidFill>
                    <a:srgbClr val="FFFFFF"/>
                  </a:solidFill>
                  <a:latin typeface="FZSJ-YANGGNH" panose="02010600010101010101" pitchFamily="2" charset="-122"/>
                  <a:ea typeface="FZSJ-YANGGNH" panose="02010600010101010101" pitchFamily="2" charset="-122"/>
                </a:rPr>
                <a:t>标题</a:t>
              </a:r>
              <a:endParaRPr lang="zh-CN" altLang="en-US" sz="1013" dirty="0">
                <a:solidFill>
                  <a:srgbClr val="FFFFFF"/>
                </a:solidFill>
                <a:latin typeface="FZSJ-YANGGNH" panose="02010600010101010101" pitchFamily="2" charset="-122"/>
                <a:ea typeface="FZSJ-YANGGNH" panose="02010600010101010101" pitchFamily="2" charset="-122"/>
              </a:endParaRP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825" dirty="0" smtClean="0">
                  <a:solidFill>
                    <a:srgbClr val="FFFFFF"/>
                  </a:solidFill>
                  <a:latin typeface="FZSJ-YANGGNH" panose="02010600010101010101" pitchFamily="2" charset="-122"/>
                  <a:ea typeface="FZSJ-YANGGNH" panose="02010600010101010101" pitchFamily="2" charset="-122"/>
                </a:rPr>
                <a:t>标题</a:t>
              </a:r>
              <a:endParaRPr lang="zh-CN" altLang="en-US" sz="825" dirty="0">
                <a:solidFill>
                  <a:srgbClr val="FFFFFF"/>
                </a:solidFill>
                <a:latin typeface="FZSJ-YANGGNH" panose="02010600010101010101" pitchFamily="2" charset="-122"/>
                <a:ea typeface="FZSJ-YANGGNH" panose="02010600010101010101" pitchFamily="2" charset="-122"/>
              </a:endParaRP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FZSJ-YANGGNH" panose="02010600010101010101" pitchFamily="2" charset="-122"/>
                  <a:ea typeface="FZSJ-YANGGNH" panose="02010600010101010101" pitchFamily="2" charset="-122"/>
                </a:rPr>
                <a:t>标题</a:t>
              </a:r>
              <a:endParaRPr lang="zh-CN" altLang="en-US" sz="825" dirty="0">
                <a:solidFill>
                  <a:srgbClr val="FFFFFF"/>
                </a:solidFill>
                <a:latin typeface="FZSJ-YANGGNH" panose="02010600010101010101" pitchFamily="2" charset="-122"/>
                <a:ea typeface="FZSJ-YANGGNH" panose="02010600010101010101" pitchFamily="2" charset="-122"/>
              </a:endParaRP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FZSJ-YANGGNH" panose="02010600010101010101" pitchFamily="2" charset="-122"/>
                  <a:ea typeface="FZSJ-YANGGNH" panose="02010600010101010101" pitchFamily="2" charset="-122"/>
                </a:rPr>
                <a:t>标题</a:t>
              </a:r>
              <a:endParaRPr lang="zh-CN" altLang="en-US" sz="825" dirty="0">
                <a:solidFill>
                  <a:srgbClr val="FFFFFF"/>
                </a:solidFill>
                <a:latin typeface="FZSJ-YANGGNH" panose="02010600010101010101" pitchFamily="2" charset="-122"/>
                <a:ea typeface="FZSJ-YANGGNH" panose="02010600010101010101" pitchFamily="2" charset="-122"/>
              </a:endParaRP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smtClean="0">
                  <a:solidFill>
                    <a:srgbClr val="FFFFFF"/>
                  </a:solidFill>
                  <a:latin typeface="FZSJ-YANGGNH" panose="02010600010101010101" pitchFamily="2" charset="-122"/>
                  <a:ea typeface="FZSJ-YANGGNH" panose="02010600010101010101" pitchFamily="2" charset="-122"/>
                </a:rPr>
                <a:t>标题</a:t>
              </a:r>
              <a:endParaRPr lang="zh-CN" altLang="en-US" sz="825" dirty="0">
                <a:solidFill>
                  <a:srgbClr val="FFFFFF"/>
                </a:solidFill>
                <a:latin typeface="FZSJ-YANGGNH" panose="02010600010101010101" pitchFamily="2" charset="-122"/>
                <a:ea typeface="FZSJ-YANGGNH" panose="02010600010101010101" pitchFamily="2" charset="-122"/>
              </a:endParaRP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FZSJ-YANGGNH" panose="02010600010101010101" pitchFamily="2" charset="-122"/>
                  <a:ea typeface="FZSJ-YANGGNH" panose="02010600010101010101" pitchFamily="2" charset="-122"/>
                </a:rPr>
                <a:t>标题</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FZSJ-YANGGNH" panose="02010600010101010101" pitchFamily="2" charset="-122"/>
                <a:ea typeface="FZSJ-YANGGNH" panose="02010600010101010101" pitchFamily="2" charset="-122"/>
              </a:endParaRPr>
            </a:p>
          </p:txBody>
        </p:sp>
      </p:grpSp>
      <p:sp>
        <p:nvSpPr>
          <p:cNvPr id="25" name="文本框 24"/>
          <p:cNvSpPr txBox="1"/>
          <p:nvPr/>
        </p:nvSpPr>
        <p:spPr>
          <a:xfrm>
            <a:off x="4799436" y="2183354"/>
            <a:ext cx="3209516" cy="632481"/>
          </a:xfrm>
          <a:prstGeom prst="rect">
            <a:avLst/>
          </a:prstGeom>
          <a:noFill/>
        </p:spPr>
        <p:txBody>
          <a:bodyPr wrap="square" rtlCol="0">
            <a:spAutoFit/>
          </a:bodyPr>
          <a:lstStyle/>
          <a:p>
            <a:pPr>
              <a:lnSpc>
                <a:spcPct val="130000"/>
              </a:lnSpc>
            </a:pPr>
            <a:r>
              <a:rPr lang="zh-CN" altLang="en-US" sz="900">
                <a:solidFill>
                  <a:schemeClr val="bg2">
                    <a:lumMod val="25000"/>
                  </a:schemeClr>
                </a:solidFill>
                <a:latin typeface="FZSJ-YANGGNH" panose="02010600010101010101" pitchFamily="2" charset="-122"/>
                <a:ea typeface="FZSJ-YANGGNH" panose="02010600010101010101" pitchFamily="2" charset="-122"/>
              </a:rPr>
              <a:t>点击添加正文、温馨提示正文行距在</a:t>
            </a:r>
            <a:r>
              <a:rPr lang="en-US" altLang="zh-CN" sz="900">
                <a:solidFill>
                  <a:schemeClr val="bg2">
                    <a:lumMod val="25000"/>
                  </a:schemeClr>
                </a:solidFill>
                <a:latin typeface="FZSJ-YANGGNH" panose="02010600010101010101" pitchFamily="2" charset="-122"/>
                <a:ea typeface="FZSJ-YANGGNH" panose="02010600010101010101" pitchFamily="2" charset="-122"/>
              </a:rPr>
              <a:t>1.2~1.3</a:t>
            </a:r>
            <a:r>
              <a:rPr lang="zh-CN" altLang="en-US" sz="900">
                <a:solidFill>
                  <a:schemeClr val="bg2">
                    <a:lumMod val="25000"/>
                  </a:schemeClr>
                </a:solidFill>
                <a:latin typeface="FZSJ-YANGGNH" panose="02010600010101010101" pitchFamily="2" charset="-122"/>
                <a:ea typeface="FZSJ-YANGGNH" panose="02010600010101010101" pitchFamily="2" charset="-122"/>
              </a:rPr>
              <a:t>之间点击添加正文、温馨提示正文行距在</a:t>
            </a:r>
            <a:r>
              <a:rPr lang="en-US" altLang="zh-CN" sz="900">
                <a:solidFill>
                  <a:schemeClr val="bg2">
                    <a:lumMod val="25000"/>
                  </a:schemeClr>
                </a:solidFill>
                <a:latin typeface="FZSJ-YANGGNH" panose="02010600010101010101" pitchFamily="2" charset="-122"/>
                <a:ea typeface="FZSJ-YANGGNH" panose="02010600010101010101" pitchFamily="2" charset="-122"/>
              </a:rPr>
              <a:t>1.2~1.3</a:t>
            </a:r>
            <a:r>
              <a:rPr lang="zh-CN" altLang="en-US" sz="900">
                <a:solidFill>
                  <a:schemeClr val="bg2">
                    <a:lumMod val="25000"/>
                  </a:schemeClr>
                </a:solidFill>
                <a:latin typeface="FZSJ-YANGGNH" panose="02010600010101010101" pitchFamily="2" charset="-122"/>
                <a:ea typeface="FZSJ-YANGGNH" panose="02010600010101010101" pitchFamily="2" charset="-122"/>
              </a:rPr>
              <a:t>之间</a:t>
            </a:r>
            <a:r>
              <a:rPr lang="en-US" altLang="zh-CN" sz="900">
                <a:solidFill>
                  <a:schemeClr val="bg2">
                    <a:lumMod val="25000"/>
                  </a:schemeClr>
                </a:solidFill>
                <a:latin typeface="FZSJ-YANGGNH" panose="02010600010101010101" pitchFamily="2" charset="-122"/>
                <a:ea typeface="FZSJ-YANGGNH" panose="02010600010101010101" pitchFamily="2" charset="-122"/>
              </a:rPr>
              <a:t>1.2~1.3</a:t>
            </a:r>
            <a:r>
              <a:rPr lang="zh-CN" altLang="en-US" sz="900">
                <a:solidFill>
                  <a:schemeClr val="bg2">
                    <a:lumMod val="25000"/>
                  </a:schemeClr>
                </a:solidFill>
                <a:latin typeface="FZSJ-YANGGNH" panose="02010600010101010101" pitchFamily="2" charset="-122"/>
                <a:ea typeface="FZSJ-YANGGNH" panose="02010600010101010101" pitchFamily="2" charset="-122"/>
              </a:rPr>
              <a:t>之间点击添加正文、温馨提示正文行距在</a:t>
            </a:r>
          </a:p>
        </p:txBody>
      </p:sp>
      <p:sp>
        <p:nvSpPr>
          <p:cNvPr id="26" name="矩形 25"/>
          <p:cNvSpPr/>
          <p:nvPr/>
        </p:nvSpPr>
        <p:spPr>
          <a:xfrm>
            <a:off x="4799435" y="1906355"/>
            <a:ext cx="1223412" cy="248209"/>
          </a:xfrm>
          <a:prstGeom prst="rect">
            <a:avLst/>
          </a:prstGeom>
        </p:spPr>
        <p:txBody>
          <a:bodyPr wrap="none">
            <a:spAutoFit/>
          </a:bodyPr>
          <a:lstStyle/>
          <a:p>
            <a:r>
              <a:rPr lang="zh-CN" altLang="en-US" sz="1013" dirty="0">
                <a:solidFill>
                  <a:schemeClr val="bg1"/>
                </a:solidFill>
                <a:latin typeface="FZSJ-YANGGNH" panose="02010600010101010101" pitchFamily="2" charset="-122"/>
                <a:ea typeface="FZSJ-YANGGNH" panose="02010600010101010101" pitchFamily="2" charset="-122"/>
              </a:rPr>
              <a:t>点击此处添加标题</a:t>
            </a:r>
          </a:p>
        </p:txBody>
      </p:sp>
      <p:sp>
        <p:nvSpPr>
          <p:cNvPr id="27" name="文本框 26"/>
          <p:cNvSpPr txBox="1"/>
          <p:nvPr/>
        </p:nvSpPr>
        <p:spPr>
          <a:xfrm>
            <a:off x="4799436" y="3686072"/>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FZSJ-YANGGNH" panose="02010600010101010101" pitchFamily="2" charset="-122"/>
                <a:ea typeface="FZSJ-YANGGNH" panose="02010600010101010101" pitchFamily="2" charset="-122"/>
              </a:rPr>
              <a:t>点击添加正文、温馨提示正文行距在</a:t>
            </a:r>
            <a:r>
              <a:rPr lang="en-US" altLang="zh-CN" sz="900" dirty="0">
                <a:solidFill>
                  <a:schemeClr val="bg2">
                    <a:lumMod val="25000"/>
                  </a:schemeClr>
                </a:solidFill>
                <a:latin typeface="FZSJ-YANGGNH" panose="02010600010101010101" pitchFamily="2" charset="-122"/>
                <a:ea typeface="FZSJ-YANGGNH" panose="02010600010101010101" pitchFamily="2" charset="-122"/>
              </a:rPr>
              <a:t>1.2~1.3</a:t>
            </a:r>
            <a:r>
              <a:rPr lang="zh-CN" altLang="en-US" sz="900" dirty="0">
                <a:solidFill>
                  <a:schemeClr val="bg2">
                    <a:lumMod val="25000"/>
                  </a:schemeClr>
                </a:solidFill>
                <a:latin typeface="FZSJ-YANGGNH" panose="02010600010101010101" pitchFamily="2" charset="-122"/>
                <a:ea typeface="FZSJ-YANGGNH" panose="02010600010101010101" pitchFamily="2" charset="-122"/>
              </a:rPr>
              <a:t>之间点击添加正文、温馨提示正文行距在</a:t>
            </a:r>
            <a:r>
              <a:rPr lang="en-US" altLang="zh-CN" sz="900" dirty="0">
                <a:solidFill>
                  <a:schemeClr val="bg2">
                    <a:lumMod val="25000"/>
                  </a:schemeClr>
                </a:solidFill>
                <a:latin typeface="FZSJ-YANGGNH" panose="02010600010101010101" pitchFamily="2" charset="-122"/>
                <a:ea typeface="FZSJ-YANGGNH" panose="02010600010101010101" pitchFamily="2" charset="-122"/>
              </a:rPr>
              <a:t>1.2~1.3</a:t>
            </a:r>
            <a:r>
              <a:rPr lang="zh-CN" altLang="en-US" sz="900" dirty="0">
                <a:solidFill>
                  <a:schemeClr val="bg2">
                    <a:lumMod val="25000"/>
                  </a:schemeClr>
                </a:solidFill>
                <a:latin typeface="FZSJ-YANGGNH" panose="02010600010101010101" pitchFamily="2" charset="-122"/>
                <a:ea typeface="FZSJ-YANGGNH" panose="02010600010101010101" pitchFamily="2" charset="-122"/>
              </a:rPr>
              <a:t>之间</a:t>
            </a:r>
            <a:r>
              <a:rPr lang="en-US" altLang="zh-CN" sz="900" dirty="0">
                <a:solidFill>
                  <a:schemeClr val="bg2">
                    <a:lumMod val="25000"/>
                  </a:schemeClr>
                </a:solidFill>
                <a:latin typeface="FZSJ-YANGGNH" panose="02010600010101010101" pitchFamily="2" charset="-122"/>
                <a:ea typeface="FZSJ-YANGGNH" panose="02010600010101010101" pitchFamily="2" charset="-122"/>
              </a:rPr>
              <a:t>1.2~1.3</a:t>
            </a:r>
            <a:r>
              <a:rPr lang="zh-CN" altLang="en-US" sz="900" dirty="0">
                <a:solidFill>
                  <a:schemeClr val="bg2">
                    <a:lumMod val="25000"/>
                  </a:schemeClr>
                </a:solidFill>
                <a:latin typeface="FZSJ-YANGGNH" panose="02010600010101010101" pitchFamily="2" charset="-122"/>
                <a:ea typeface="FZSJ-YANGGNH" panose="02010600010101010101" pitchFamily="2" charset="-122"/>
              </a:rPr>
              <a:t>之间点击添加正文、温馨提示正文行距在</a:t>
            </a:r>
          </a:p>
        </p:txBody>
      </p:sp>
      <p:sp>
        <p:nvSpPr>
          <p:cNvPr id="28" name="矩形 27"/>
          <p:cNvSpPr/>
          <p:nvPr/>
        </p:nvSpPr>
        <p:spPr>
          <a:xfrm>
            <a:off x="4799435" y="3409073"/>
            <a:ext cx="1223412" cy="248209"/>
          </a:xfrm>
          <a:prstGeom prst="rect">
            <a:avLst/>
          </a:prstGeom>
        </p:spPr>
        <p:txBody>
          <a:bodyPr wrap="none">
            <a:spAutoFit/>
          </a:bodyPr>
          <a:lstStyle/>
          <a:p>
            <a:r>
              <a:rPr lang="zh-CN" altLang="en-US" sz="1013">
                <a:latin typeface="FZSJ-YANGGNH" panose="02010600010101010101" pitchFamily="2" charset="-122"/>
                <a:ea typeface="FZSJ-YANGGNH" panose="02010600010101010101" pitchFamily="2" charset="-122"/>
              </a:rPr>
              <a:t>点击此处添加标题</a:t>
            </a:r>
          </a:p>
        </p:txBody>
      </p:sp>
    </p:spTree>
    <p:extLst>
      <p:ext uri="{BB962C8B-B14F-4D97-AF65-F5344CB8AC3E}">
        <p14:creationId xmlns:p14="http://schemas.microsoft.com/office/powerpoint/2010/main" val="101937465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1+#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1+#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FZSJ-YANGGNH" panose="02010600010101010101" pitchFamily="2" charset="-122"/>
                <a:ea typeface="FZSJ-YANGGNH" panose="02010600010101010101" pitchFamily="2" charset="-122"/>
              </a:rPr>
              <a:t>标题内容</a:t>
            </a:r>
            <a:endParaRPr lang="en-US" altLang="zh-CN" sz="2800" dirty="0">
              <a:solidFill>
                <a:schemeClr val="tx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11188" y="803187"/>
            <a:ext cx="7535050" cy="3952176"/>
            <a:chOff x="611188" y="803187"/>
            <a:chExt cx="7535050" cy="3952176"/>
          </a:xfrm>
        </p:grpSpPr>
        <p:sp>
          <p:nvSpPr>
            <p:cNvPr id="9" name="Freeform 138"/>
            <p:cNvSpPr>
              <a:spLocks/>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a:extLst/>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10" name="Freeform 140"/>
            <p:cNvSpPr>
              <a:spLocks/>
            </p:cNvSpPr>
            <p:nvPr/>
          </p:nvSpPr>
          <p:spPr bwMode="auto">
            <a:xfrm>
              <a:off x="4419041" y="3514468"/>
              <a:ext cx="1500618" cy="1240895"/>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a:extLst/>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11" name="Freeform 141"/>
            <p:cNvSpPr>
              <a:spLocks/>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80808"/>
                </a:solidFill>
                <a:latin typeface="FZSJ-YANGGNH" panose="02010600010101010101" pitchFamily="2" charset="-122"/>
                <a:ea typeface="FZSJ-YANGGNH" panose="02010600010101010101" pitchFamily="2" charset="-122"/>
              </a:endParaRPr>
            </a:p>
          </p:txBody>
        </p:sp>
        <p:sp>
          <p:nvSpPr>
            <p:cNvPr id="12" name="Freeform 142"/>
            <p:cNvSpPr>
              <a:spLocks/>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a:extLst/>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13" name="Freeform 143"/>
            <p:cNvSpPr>
              <a:spLocks/>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a:extLst/>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14" name="TextBox 97"/>
            <p:cNvSpPr txBox="1"/>
            <p:nvPr/>
          </p:nvSpPr>
          <p:spPr bwMode="auto">
            <a:xfrm>
              <a:off x="6156176" y="113159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lgn="l"/>
              <a:r>
                <a:rPr lang="zh-CN" altLang="en-US" dirty="0">
                  <a:solidFill>
                    <a:schemeClr val="tx1"/>
                  </a:solidFill>
                  <a:latin typeface="FZSJ-YANGGNH" panose="02010600010101010101" pitchFamily="2" charset="-122"/>
                  <a:ea typeface="FZSJ-YANGGNH" panose="02010600010101010101" pitchFamily="2" charset="-122"/>
                </a:rPr>
                <a:t>添加标题</a:t>
              </a:r>
            </a:p>
          </p:txBody>
        </p:sp>
        <p:sp>
          <p:nvSpPr>
            <p:cNvPr id="15" name="矩形 1"/>
            <p:cNvSpPr>
              <a:spLocks noChangeArrowheads="1"/>
            </p:cNvSpPr>
            <p:nvPr/>
          </p:nvSpPr>
          <p:spPr bwMode="auto">
            <a:xfrm>
              <a:off x="6164187" y="1431659"/>
              <a:ext cx="19739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FZSJ-YANGGNH" panose="02010600010101010101" pitchFamily="2" charset="-122"/>
                  <a:ea typeface="FZSJ-YANGGNH" panose="02010600010101010101" pitchFamily="2" charset="-122"/>
                  <a:sym typeface="微软雅黑" pitchFamily="34" charset="-122"/>
                </a:rPr>
                <a:t>单击添加文本单击添加文本单击添加文本单击添加文本</a:t>
              </a:r>
              <a:r>
                <a:rPr lang="zh-CN" altLang="en-US" sz="1000" dirty="0" smtClean="0">
                  <a:solidFill>
                    <a:schemeClr val="accent1"/>
                  </a:solidFill>
                  <a:latin typeface="FZSJ-YANGGNH" panose="02010600010101010101" pitchFamily="2" charset="-122"/>
                  <a:ea typeface="FZSJ-YANGGNH" panose="02010600010101010101" pitchFamily="2" charset="-122"/>
                  <a:sym typeface="微软雅黑" pitchFamily="34" charset="-122"/>
                </a:rPr>
                <a:t>单击</a:t>
              </a:r>
              <a:endParaRPr lang="zh-CN" altLang="en-US" sz="1000" dirty="0">
                <a:solidFill>
                  <a:schemeClr val="accent1"/>
                </a:solidFill>
                <a:latin typeface="FZSJ-YANGGNH" panose="02010600010101010101" pitchFamily="2" charset="-122"/>
                <a:ea typeface="FZSJ-YANGGNH" panose="02010600010101010101" pitchFamily="2" charset="-122"/>
                <a:sym typeface="微软雅黑" pitchFamily="34" charset="-122"/>
              </a:endParaRPr>
            </a:p>
          </p:txBody>
        </p:sp>
        <p:sp>
          <p:nvSpPr>
            <p:cNvPr id="16" name="TextBox 99"/>
            <p:cNvSpPr txBox="1"/>
            <p:nvPr/>
          </p:nvSpPr>
          <p:spPr bwMode="auto">
            <a:xfrm>
              <a:off x="1684516" y="224981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r>
                <a:rPr lang="zh-CN" altLang="en-US" dirty="0">
                  <a:solidFill>
                    <a:schemeClr val="bg2"/>
                  </a:solidFill>
                  <a:latin typeface="FZSJ-YANGGNH" panose="02010600010101010101" pitchFamily="2" charset="-122"/>
                  <a:ea typeface="FZSJ-YANGGNH" panose="02010600010101010101" pitchFamily="2" charset="-122"/>
                </a:rPr>
                <a:t>添加标题</a:t>
              </a:r>
            </a:p>
          </p:txBody>
        </p:sp>
        <p:sp>
          <p:nvSpPr>
            <p:cNvPr id="17" name="矩形 1"/>
            <p:cNvSpPr>
              <a:spLocks noChangeArrowheads="1"/>
            </p:cNvSpPr>
            <p:nvPr/>
          </p:nvSpPr>
          <p:spPr bwMode="auto">
            <a:xfrm>
              <a:off x="611188" y="2568189"/>
              <a:ext cx="222295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50000"/>
                </a:lnSpc>
              </a:pPr>
              <a:r>
                <a:rPr lang="zh-CN" altLang="en-US" sz="1000" dirty="0">
                  <a:solidFill>
                    <a:schemeClr val="accent1"/>
                  </a:solidFill>
                  <a:latin typeface="FZSJ-YANGGNH" panose="02010600010101010101" pitchFamily="2" charset="-122"/>
                  <a:ea typeface="FZSJ-YANGGNH" panose="02010600010101010101" pitchFamily="2" charset="-122"/>
                  <a:sym typeface="微软雅黑" pitchFamily="34" charset="-122"/>
                </a:rPr>
                <a:t>单击添加文本单击添加文本单击添加文本单击添加文本单击</a:t>
              </a:r>
            </a:p>
          </p:txBody>
        </p:sp>
        <p:sp>
          <p:nvSpPr>
            <p:cNvPr id="18" name="TextBox 101"/>
            <p:cNvSpPr txBox="1"/>
            <p:nvPr/>
          </p:nvSpPr>
          <p:spPr bwMode="auto">
            <a:xfrm>
              <a:off x="6164265" y="322950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r>
                <a:rPr lang="zh-CN" altLang="en-US" dirty="0">
                  <a:solidFill>
                    <a:schemeClr val="tx2"/>
                  </a:solidFill>
                  <a:latin typeface="FZSJ-YANGGNH" panose="02010600010101010101" pitchFamily="2" charset="-122"/>
                  <a:ea typeface="FZSJ-YANGGNH" panose="02010600010101010101" pitchFamily="2" charset="-122"/>
                </a:rPr>
                <a:t>添加标题</a:t>
              </a:r>
            </a:p>
          </p:txBody>
        </p:sp>
        <p:sp>
          <p:nvSpPr>
            <p:cNvPr id="19" name="矩形 1"/>
            <p:cNvSpPr>
              <a:spLocks noChangeArrowheads="1"/>
            </p:cNvSpPr>
            <p:nvPr/>
          </p:nvSpPr>
          <p:spPr bwMode="auto">
            <a:xfrm>
              <a:off x="6172276" y="3529569"/>
              <a:ext cx="19739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FZSJ-YANGGNH" panose="02010600010101010101" pitchFamily="2" charset="-122"/>
                  <a:ea typeface="FZSJ-YANGGNH" panose="02010600010101010101" pitchFamily="2" charset="-122"/>
                  <a:sym typeface="微软雅黑" pitchFamily="34" charset="-122"/>
                </a:rPr>
                <a:t>单击添加文本单击添加文本单击添加文本单击添加文本单击</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lang="zh-CN" altLang="en-US" sz="1600">
                <a:solidFill>
                  <a:srgbClr val="080808"/>
                </a:solidFill>
                <a:latin typeface="FZSJ-YANGGNH" panose="02010600010101010101" pitchFamily="2" charset="-122"/>
                <a:ea typeface="FZSJ-YANGGNH" panose="02010600010101010101" pitchFamily="2" charset="-122"/>
              </a:endParaRPr>
            </a:p>
          </p:txBody>
        </p:sp>
        <p:sp>
          <p:nvSpPr>
            <p:cNvPr id="23" name="TextBox 682"/>
            <p:cNvSpPr txBox="1"/>
            <p:nvPr/>
          </p:nvSpPr>
          <p:spPr>
            <a:xfrm>
              <a:off x="5691723" y="1301196"/>
              <a:ext cx="312906"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latin typeface="FZSJ-YANGGNH" panose="02010600010101010101" pitchFamily="2" charset="-122"/>
                  <a:ea typeface="FZSJ-YANGGNH" panose="02010600010101010101" pitchFamily="2" charset="-122"/>
                </a:rPr>
                <a:t>C</a:t>
              </a:r>
              <a:endParaRPr lang="zh-CN" altLang="en-US" sz="2000" dirty="0">
                <a:solidFill>
                  <a:schemeClr val="accent2"/>
                </a:solidFill>
                <a:latin typeface="FZSJ-YANGGNH" panose="02010600010101010101" pitchFamily="2" charset="-122"/>
                <a:ea typeface="FZSJ-YANGGNH" panose="02010600010101010101" pitchFamily="2" charset="-122"/>
              </a:endParaRPr>
            </a:p>
          </p:txBody>
        </p:sp>
        <p:sp>
          <p:nvSpPr>
            <p:cNvPr id="24" name="TextBox 682"/>
            <p:cNvSpPr txBox="1"/>
            <p:nvPr/>
          </p:nvSpPr>
          <p:spPr>
            <a:xfrm>
              <a:off x="5693326" y="3379577"/>
              <a:ext cx="309700"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latin typeface="FZSJ-YANGGNH" panose="02010600010101010101" pitchFamily="2" charset="-122"/>
                  <a:ea typeface="FZSJ-YANGGNH" panose="02010600010101010101" pitchFamily="2" charset="-122"/>
                </a:rPr>
                <a:t>A</a:t>
              </a:r>
              <a:endParaRPr lang="zh-CN" altLang="en-US" sz="2000" dirty="0">
                <a:solidFill>
                  <a:schemeClr val="accent2"/>
                </a:solidFill>
                <a:latin typeface="FZSJ-YANGGNH" panose="02010600010101010101" pitchFamily="2" charset="-122"/>
                <a:ea typeface="FZSJ-YANGGNH" panose="02010600010101010101" pitchFamily="2" charset="-122"/>
              </a:endParaRPr>
            </a:p>
          </p:txBody>
        </p:sp>
        <p:sp>
          <p:nvSpPr>
            <p:cNvPr id="25" name="TextBox 682"/>
            <p:cNvSpPr txBox="1"/>
            <p:nvPr/>
          </p:nvSpPr>
          <p:spPr>
            <a:xfrm>
              <a:off x="3006767" y="2397162"/>
              <a:ext cx="293670"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smtClean="0">
                  <a:solidFill>
                    <a:schemeClr val="accent2"/>
                  </a:solidFill>
                  <a:latin typeface="FZSJ-YANGGNH" panose="02010600010101010101" pitchFamily="2" charset="-122"/>
                  <a:ea typeface="FZSJ-YANGGNH" panose="02010600010101010101" pitchFamily="2" charset="-122"/>
                </a:rPr>
                <a:t>B</a:t>
              </a:r>
              <a:endParaRPr lang="zh-CN" altLang="en-US" sz="2000" dirty="0">
                <a:solidFill>
                  <a:schemeClr val="accent2"/>
                </a:solidFill>
                <a:latin typeface="FZSJ-YANGGNH" panose="02010600010101010101" pitchFamily="2" charset="-122"/>
                <a:ea typeface="FZSJ-YANGGNH" panose="02010600010101010101" pitchFamily="2" charset="-122"/>
              </a:endParaRPr>
            </a:p>
          </p:txBody>
        </p:sp>
        <p:sp>
          <p:nvSpPr>
            <p:cNvPr id="26" name="TextBox 109"/>
            <p:cNvSpPr txBox="1"/>
            <p:nvPr/>
          </p:nvSpPr>
          <p:spPr bwMode="auto">
            <a:xfrm>
              <a:off x="3305969" y="892281"/>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r>
                <a:rPr lang="zh-CN" altLang="en-US" dirty="0">
                  <a:solidFill>
                    <a:schemeClr val="bg1"/>
                  </a:solidFill>
                  <a:latin typeface="FZSJ-YANGGNH" panose="02010600010101010101" pitchFamily="2" charset="-122"/>
                  <a:ea typeface="FZSJ-YANGGNH" panose="02010600010101010101" pitchFamily="2" charset="-122"/>
                </a:rPr>
                <a:t>添加标题</a:t>
              </a:r>
            </a:p>
          </p:txBody>
        </p:sp>
      </p:grpSp>
    </p:spTree>
    <p:extLst>
      <p:ext uri="{BB962C8B-B14F-4D97-AF65-F5344CB8AC3E}">
        <p14:creationId xmlns:p14="http://schemas.microsoft.com/office/powerpoint/2010/main" val="1074540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nodeType="clickEffect">
                                  <p:stCondLst>
                                    <p:cond delay="0"/>
                                  </p:stCondLst>
                                  <p:childTnLst>
                                    <p:animEffect transition="out" filter="fade">
                                      <p:cBhvr>
                                        <p:cTn id="13" dur="500" tmFilter="0, 0; .2, .5; .8, .5; 1, 0"/>
                                        <p:tgtEl>
                                          <p:spTgt spid="8"/>
                                        </p:tgtEl>
                                      </p:cBhvr>
                                    </p:animEffect>
                                    <p:animScale>
                                      <p:cBhvr>
                                        <p:cTn id="14"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tx2"/>
                </a:solidFill>
                <a:latin typeface="FZSJ-YANGGNH" panose="02010600010101010101" pitchFamily="2" charset="-122"/>
                <a:ea typeface="FZSJ-YANGGNH" panose="02010600010101010101" pitchFamily="2" charset="-122"/>
              </a:rPr>
              <a:t>标题内容</a:t>
            </a:r>
            <a:endParaRPr lang="en-US" altLang="zh-CN" sz="2800" dirty="0">
              <a:solidFill>
                <a:schemeClr val="tx2"/>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Line 2"/>
          <p:cNvSpPr>
            <a:spLocks noChangeShapeType="1"/>
          </p:cNvSpPr>
          <p:nvPr/>
        </p:nvSpPr>
        <p:spPr bwMode="auto">
          <a:xfrm flipH="1">
            <a:off x="6010276" y="2309813"/>
            <a:ext cx="1354931"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9" name="Line 7"/>
          <p:cNvSpPr>
            <a:spLocks noChangeShapeType="1"/>
          </p:cNvSpPr>
          <p:nvPr/>
        </p:nvSpPr>
        <p:spPr bwMode="auto">
          <a:xfrm flipH="1">
            <a:off x="1762126" y="2369344"/>
            <a:ext cx="1356122"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0" name="Line 8"/>
          <p:cNvSpPr>
            <a:spLocks noChangeShapeType="1"/>
          </p:cNvSpPr>
          <p:nvPr/>
        </p:nvSpPr>
        <p:spPr bwMode="auto">
          <a:xfrm>
            <a:off x="3850482" y="2466976"/>
            <a:ext cx="1288256" cy="1146572"/>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latin typeface="FZSJ-YANGGNH" panose="02010600010101010101" pitchFamily="2" charset="-122"/>
              <a:ea typeface="FZSJ-YANGGNH" panose="02010600010101010101" pitchFamily="2" charset="-122"/>
            </a:endParaRPr>
          </a:p>
        </p:txBody>
      </p:sp>
      <p:sp>
        <p:nvSpPr>
          <p:cNvPr id="11" name="Text Box 9"/>
          <p:cNvSpPr txBox="1">
            <a:spLocks noChangeArrowheads="1"/>
          </p:cNvSpPr>
          <p:nvPr/>
        </p:nvSpPr>
        <p:spPr bwMode="auto">
          <a:xfrm>
            <a:off x="469106" y="2034779"/>
            <a:ext cx="16013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1"/>
                </a:solidFill>
                <a:latin typeface="FZSJ-YANGGNH" panose="02010600010101010101" pitchFamily="2" charset="-122"/>
                <a:ea typeface="FZSJ-YANGGNH" panose="02010600010101010101" pitchFamily="2" charset="-122"/>
                <a:sym typeface="Calibri" panose="020F0502020204030204" pitchFamily="34" charset="0"/>
              </a:rPr>
              <a:t>标题</a:t>
            </a:r>
          </a:p>
        </p:txBody>
      </p:sp>
      <p:sp>
        <p:nvSpPr>
          <p:cNvPr id="12" name="Text Box 10"/>
          <p:cNvSpPr txBox="1">
            <a:spLocks noChangeArrowheads="1"/>
          </p:cNvSpPr>
          <p:nvPr/>
        </p:nvSpPr>
        <p:spPr bwMode="auto">
          <a:xfrm>
            <a:off x="469107" y="2307432"/>
            <a:ext cx="1841897" cy="67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latin typeface="FZSJ-YANGGNH" panose="02010600010101010101" pitchFamily="2" charset="-122"/>
                <a:ea typeface="FZSJ-YANGGNH" panose="02010600010101010101" pitchFamily="2" charset="-122"/>
                <a:sym typeface="Calibri" panose="020F0502020204030204" pitchFamily="34" charset="0"/>
              </a:rPr>
              <a:t>输入说明文字内容输入说明文字内容输入说明文字内容输入说明文字内容</a:t>
            </a:r>
          </a:p>
        </p:txBody>
      </p:sp>
      <p:sp>
        <p:nvSpPr>
          <p:cNvPr id="13" name="Text Box 11"/>
          <p:cNvSpPr txBox="1">
            <a:spLocks noChangeArrowheads="1"/>
          </p:cNvSpPr>
          <p:nvPr/>
        </p:nvSpPr>
        <p:spPr bwMode="auto">
          <a:xfrm>
            <a:off x="4732735" y="2089547"/>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2"/>
                </a:solidFill>
                <a:latin typeface="FZSJ-YANGGNH" panose="02010600010101010101" pitchFamily="2" charset="-122"/>
                <a:ea typeface="FZSJ-YANGGNH" panose="02010600010101010101" pitchFamily="2" charset="-122"/>
                <a:sym typeface="Calibri" panose="020F0502020204030204" pitchFamily="34" charset="0"/>
              </a:rPr>
              <a:t>标题</a:t>
            </a:r>
          </a:p>
        </p:txBody>
      </p:sp>
      <p:sp>
        <p:nvSpPr>
          <p:cNvPr id="14" name="Text Box 12"/>
          <p:cNvSpPr txBox="1">
            <a:spLocks noChangeArrowheads="1"/>
          </p:cNvSpPr>
          <p:nvPr/>
        </p:nvSpPr>
        <p:spPr bwMode="auto">
          <a:xfrm>
            <a:off x="4658916" y="2329767"/>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latin typeface="FZSJ-YANGGNH" panose="02010600010101010101" pitchFamily="2" charset="-122"/>
                <a:ea typeface="FZSJ-YANGGNH" panose="02010600010101010101" pitchFamily="2" charset="-122"/>
                <a:sym typeface="Calibri" panose="020F0502020204030204" pitchFamily="34" charset="0"/>
              </a:rPr>
              <a:t>输入说明文字内容输入说明文字内容输入说明文字内容输入说明文字内容</a:t>
            </a:r>
          </a:p>
        </p:txBody>
      </p:sp>
      <p:sp>
        <p:nvSpPr>
          <p:cNvPr id="15" name="Text Box 13"/>
          <p:cNvSpPr txBox="1">
            <a:spLocks noChangeArrowheads="1"/>
          </p:cNvSpPr>
          <p:nvPr/>
        </p:nvSpPr>
        <p:spPr bwMode="auto">
          <a:xfrm>
            <a:off x="2584848" y="2838450"/>
            <a:ext cx="16025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latin typeface="FZSJ-YANGGNH" panose="02010600010101010101" pitchFamily="2" charset="-122"/>
                <a:ea typeface="FZSJ-YANGGNH" panose="02010600010101010101" pitchFamily="2" charset="-122"/>
                <a:sym typeface="Calibri" panose="020F0502020204030204" pitchFamily="34" charset="0"/>
              </a:rPr>
              <a:t>标题</a:t>
            </a:r>
          </a:p>
        </p:txBody>
      </p:sp>
      <p:sp>
        <p:nvSpPr>
          <p:cNvPr id="16" name="Text Box 14"/>
          <p:cNvSpPr txBox="1">
            <a:spLocks noChangeArrowheads="1"/>
          </p:cNvSpPr>
          <p:nvPr/>
        </p:nvSpPr>
        <p:spPr bwMode="auto">
          <a:xfrm>
            <a:off x="2584847" y="3111104"/>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latin typeface="FZSJ-YANGGNH" panose="02010600010101010101" pitchFamily="2" charset="-122"/>
                <a:ea typeface="FZSJ-YANGGNH" panose="02010600010101010101" pitchFamily="2" charset="-122"/>
                <a:sym typeface="Calibri" panose="020F0502020204030204" pitchFamily="34" charset="0"/>
              </a:rPr>
              <a:t>输入说明文字内容输入说明文字内容输入说明文字内容输入说明文字内容</a:t>
            </a:r>
          </a:p>
        </p:txBody>
      </p:sp>
      <p:sp>
        <p:nvSpPr>
          <p:cNvPr id="17" name="Text Box 15"/>
          <p:cNvSpPr txBox="1">
            <a:spLocks noChangeArrowheads="1"/>
          </p:cNvSpPr>
          <p:nvPr/>
        </p:nvSpPr>
        <p:spPr bwMode="auto">
          <a:xfrm>
            <a:off x="7009210" y="2524125"/>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tx2"/>
                </a:solidFill>
                <a:latin typeface="FZSJ-YANGGNH" panose="02010600010101010101" pitchFamily="2" charset="-122"/>
                <a:ea typeface="FZSJ-YANGGNH" panose="02010600010101010101" pitchFamily="2" charset="-122"/>
                <a:sym typeface="Calibri" panose="020F0502020204030204" pitchFamily="34" charset="0"/>
              </a:rPr>
              <a:t>标题</a:t>
            </a:r>
          </a:p>
        </p:txBody>
      </p:sp>
      <p:sp>
        <p:nvSpPr>
          <p:cNvPr id="18" name="Text Box 16"/>
          <p:cNvSpPr txBox="1">
            <a:spLocks noChangeArrowheads="1"/>
          </p:cNvSpPr>
          <p:nvPr/>
        </p:nvSpPr>
        <p:spPr bwMode="auto">
          <a:xfrm>
            <a:off x="6935391" y="2833823"/>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latin typeface="FZSJ-YANGGNH" panose="02010600010101010101" pitchFamily="2" charset="-122"/>
                <a:ea typeface="FZSJ-YANGGNH" panose="02010600010101010101" pitchFamily="2" charset="-122"/>
                <a:sym typeface="Calibri" panose="020F0502020204030204" pitchFamily="34" charset="0"/>
              </a:rPr>
              <a:t>输入说明文字内容输入说明文字内容输入说明文字内容输入说明文字内容</a:t>
            </a:r>
          </a:p>
        </p:txBody>
      </p:sp>
      <p:grpSp>
        <p:nvGrpSpPr>
          <p:cNvPr id="19" name="组合 18"/>
          <p:cNvGrpSpPr/>
          <p:nvPr/>
        </p:nvGrpSpPr>
        <p:grpSpPr>
          <a:xfrm>
            <a:off x="853679" y="3173016"/>
            <a:ext cx="1009650" cy="1008459"/>
            <a:chOff x="853679" y="3173016"/>
            <a:chExt cx="1009650" cy="1008459"/>
          </a:xfrm>
        </p:grpSpPr>
        <p:sp>
          <p:nvSpPr>
            <p:cNvPr id="20" name="Oval 6"/>
            <p:cNvSpPr>
              <a:spLocks noChangeArrowheads="1"/>
            </p:cNvSpPr>
            <p:nvPr/>
          </p:nvSpPr>
          <p:spPr bwMode="auto">
            <a:xfrm>
              <a:off x="853679" y="3173016"/>
              <a:ext cx="1009650" cy="1008459"/>
            </a:xfrm>
            <a:prstGeom prst="ellipse">
              <a:avLst/>
            </a:prstGeom>
            <a:solidFill>
              <a:schemeClr val="bg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latin typeface="FZSJ-YANGGNH" panose="02010600010101010101" pitchFamily="2" charset="-122"/>
                <a:ea typeface="FZSJ-YANGGNH" panose="02010600010101010101" pitchFamily="2" charset="-122"/>
                <a:sym typeface="Calibri" panose="020F0502020204030204" pitchFamily="34" charset="0"/>
              </a:endParaRPr>
            </a:p>
          </p:txBody>
        </p:sp>
        <p:sp>
          <p:nvSpPr>
            <p:cNvPr id="21" name="Text Box 9"/>
            <p:cNvSpPr txBox="1">
              <a:spLocks noChangeArrowheads="1"/>
            </p:cNvSpPr>
            <p:nvPr/>
          </p:nvSpPr>
          <p:spPr bwMode="auto">
            <a:xfrm>
              <a:off x="1038914"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FZSJ-YANGGNH" panose="02010600010101010101" pitchFamily="2" charset="-122"/>
                  <a:ea typeface="FZSJ-YANGGNH" panose="02010600010101010101" pitchFamily="2" charset="-122"/>
                  <a:sym typeface="Calibri" panose="020F0502020204030204" pitchFamily="34" charset="0"/>
                </a:rPr>
                <a:t>01</a:t>
              </a:r>
              <a:endParaRPr lang="zh-CN" sz="2500" dirty="0">
                <a:solidFill>
                  <a:schemeClr val="accent2"/>
                </a:solidFill>
                <a:latin typeface="FZSJ-YANGGNH" panose="02010600010101010101" pitchFamily="2" charset="-122"/>
                <a:ea typeface="FZSJ-YANGGNH" panose="02010600010101010101" pitchFamily="2" charset="-122"/>
                <a:sym typeface="Calibri" panose="020F0502020204030204" pitchFamily="34" charset="0"/>
              </a:endParaRPr>
            </a:p>
          </p:txBody>
        </p:sp>
      </p:grpSp>
      <p:grpSp>
        <p:nvGrpSpPr>
          <p:cNvPr id="22" name="组合 21"/>
          <p:cNvGrpSpPr/>
          <p:nvPr/>
        </p:nvGrpSpPr>
        <p:grpSpPr>
          <a:xfrm>
            <a:off x="5131594" y="3167063"/>
            <a:ext cx="1009650" cy="1008460"/>
            <a:chOff x="5131594" y="3167063"/>
            <a:chExt cx="1009650" cy="1008460"/>
          </a:xfrm>
        </p:grpSpPr>
        <p:sp>
          <p:nvSpPr>
            <p:cNvPr id="23" name="Oval 3"/>
            <p:cNvSpPr>
              <a:spLocks noChangeArrowheads="1"/>
            </p:cNvSpPr>
            <p:nvPr/>
          </p:nvSpPr>
          <p:spPr bwMode="auto">
            <a:xfrm>
              <a:off x="5131594" y="3167063"/>
              <a:ext cx="1009650" cy="1008460"/>
            </a:xfrm>
            <a:prstGeom prst="ellipse">
              <a:avLst/>
            </a:prstGeom>
            <a:solidFill>
              <a:schemeClr val="bg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latin typeface="FZSJ-YANGGNH" panose="02010600010101010101" pitchFamily="2" charset="-122"/>
                <a:ea typeface="FZSJ-YANGGNH" panose="02010600010101010101" pitchFamily="2" charset="-122"/>
                <a:sym typeface="Calibri" panose="020F0502020204030204" pitchFamily="34" charset="0"/>
              </a:endParaRPr>
            </a:p>
          </p:txBody>
        </p:sp>
        <p:sp>
          <p:nvSpPr>
            <p:cNvPr id="24" name="Text Box 9"/>
            <p:cNvSpPr txBox="1">
              <a:spLocks noChangeArrowheads="1"/>
            </p:cNvSpPr>
            <p:nvPr/>
          </p:nvSpPr>
          <p:spPr bwMode="auto">
            <a:xfrm>
              <a:off x="5332047"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FZSJ-YANGGNH" panose="02010600010101010101" pitchFamily="2" charset="-122"/>
                  <a:ea typeface="FZSJ-YANGGNH" panose="02010600010101010101" pitchFamily="2" charset="-122"/>
                  <a:sym typeface="Calibri" panose="020F0502020204030204" pitchFamily="34" charset="0"/>
                </a:rPr>
                <a:t>03</a:t>
              </a:r>
              <a:endParaRPr lang="zh-CN" sz="2500" dirty="0">
                <a:solidFill>
                  <a:schemeClr val="accent2"/>
                </a:solidFill>
                <a:latin typeface="FZSJ-YANGGNH" panose="02010600010101010101" pitchFamily="2" charset="-122"/>
                <a:ea typeface="FZSJ-YANGGNH" panose="02010600010101010101" pitchFamily="2" charset="-122"/>
                <a:sym typeface="Calibri" panose="020F0502020204030204" pitchFamily="34" charset="0"/>
              </a:endParaRPr>
            </a:p>
          </p:txBody>
        </p:sp>
      </p:grpSp>
      <p:grpSp>
        <p:nvGrpSpPr>
          <p:cNvPr id="25" name="组合 24"/>
          <p:cNvGrpSpPr/>
          <p:nvPr/>
        </p:nvGrpSpPr>
        <p:grpSpPr>
          <a:xfrm>
            <a:off x="3026569" y="1568054"/>
            <a:ext cx="1008460" cy="1009650"/>
            <a:chOff x="3026569" y="1568054"/>
            <a:chExt cx="1008460" cy="1009650"/>
          </a:xfrm>
        </p:grpSpPr>
        <p:sp>
          <p:nvSpPr>
            <p:cNvPr id="26" name="Oval 5"/>
            <p:cNvSpPr>
              <a:spLocks noChangeArrowheads="1"/>
            </p:cNvSpPr>
            <p:nvPr/>
          </p:nvSpPr>
          <p:spPr bwMode="auto">
            <a:xfrm>
              <a:off x="3026569" y="1568054"/>
              <a:ext cx="1008460" cy="1009650"/>
            </a:xfrm>
            <a:prstGeom prst="ellipse">
              <a:avLst/>
            </a:prstGeom>
            <a:solidFill>
              <a:schemeClr val="tx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latin typeface="FZSJ-YANGGNH" panose="02010600010101010101" pitchFamily="2" charset="-122"/>
                <a:ea typeface="FZSJ-YANGGNH" panose="02010600010101010101" pitchFamily="2" charset="-122"/>
                <a:sym typeface="Calibri" panose="020F0502020204030204" pitchFamily="34" charset="0"/>
              </a:endParaRPr>
            </a:p>
          </p:txBody>
        </p:sp>
        <p:sp>
          <p:nvSpPr>
            <p:cNvPr id="27" name="Text Box 9"/>
            <p:cNvSpPr txBox="1">
              <a:spLocks noChangeArrowheads="1"/>
            </p:cNvSpPr>
            <p:nvPr/>
          </p:nvSpPr>
          <p:spPr bwMode="auto">
            <a:xfrm>
              <a:off x="3241738" y="1821680"/>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FZSJ-YANGGNH" panose="02010600010101010101" pitchFamily="2" charset="-122"/>
                  <a:ea typeface="FZSJ-YANGGNH" panose="02010600010101010101" pitchFamily="2" charset="-122"/>
                  <a:sym typeface="Calibri" panose="020F0502020204030204" pitchFamily="34" charset="0"/>
                </a:rPr>
                <a:t>02</a:t>
              </a:r>
              <a:endParaRPr lang="zh-CN" sz="2500" dirty="0">
                <a:solidFill>
                  <a:schemeClr val="accent2"/>
                </a:solidFill>
                <a:latin typeface="FZSJ-YANGGNH" panose="02010600010101010101" pitchFamily="2" charset="-122"/>
                <a:ea typeface="FZSJ-YANGGNH" panose="02010600010101010101" pitchFamily="2" charset="-122"/>
                <a:sym typeface="Calibri" panose="020F0502020204030204" pitchFamily="34" charset="0"/>
              </a:endParaRPr>
            </a:p>
          </p:txBody>
        </p:sp>
      </p:grpSp>
      <p:grpSp>
        <p:nvGrpSpPr>
          <p:cNvPr id="28" name="组合 27"/>
          <p:cNvGrpSpPr/>
          <p:nvPr/>
        </p:nvGrpSpPr>
        <p:grpSpPr>
          <a:xfrm>
            <a:off x="7208044" y="1438275"/>
            <a:ext cx="1009650" cy="1008460"/>
            <a:chOff x="7208044" y="1438275"/>
            <a:chExt cx="1009650" cy="1008460"/>
          </a:xfrm>
        </p:grpSpPr>
        <p:sp>
          <p:nvSpPr>
            <p:cNvPr id="29" name="Oval 4"/>
            <p:cNvSpPr>
              <a:spLocks noChangeArrowheads="1"/>
            </p:cNvSpPr>
            <p:nvPr/>
          </p:nvSpPr>
          <p:spPr bwMode="auto">
            <a:xfrm>
              <a:off x="7208044" y="1438275"/>
              <a:ext cx="1009650" cy="1008460"/>
            </a:xfrm>
            <a:prstGeom prst="ellipse">
              <a:avLst/>
            </a:prstGeom>
            <a:solidFill>
              <a:schemeClr val="tx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latin typeface="FZSJ-YANGGNH" panose="02010600010101010101" pitchFamily="2" charset="-122"/>
                <a:ea typeface="FZSJ-YANGGNH" panose="02010600010101010101" pitchFamily="2" charset="-122"/>
                <a:sym typeface="Calibri" panose="020F0502020204030204" pitchFamily="34" charset="0"/>
              </a:endParaRPr>
            </a:p>
          </p:txBody>
        </p:sp>
        <p:sp>
          <p:nvSpPr>
            <p:cNvPr id="30" name="Text Box 9"/>
            <p:cNvSpPr txBox="1">
              <a:spLocks noChangeArrowheads="1"/>
            </p:cNvSpPr>
            <p:nvPr/>
          </p:nvSpPr>
          <p:spPr bwMode="auto">
            <a:xfrm>
              <a:off x="7396783" y="1693648"/>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smtClean="0">
                  <a:solidFill>
                    <a:schemeClr val="accent2"/>
                  </a:solidFill>
                  <a:latin typeface="FZSJ-YANGGNH" panose="02010600010101010101" pitchFamily="2" charset="-122"/>
                  <a:ea typeface="FZSJ-YANGGNH" panose="02010600010101010101" pitchFamily="2" charset="-122"/>
                  <a:sym typeface="Calibri" panose="020F0502020204030204" pitchFamily="34" charset="0"/>
                </a:rPr>
                <a:t>04</a:t>
              </a:r>
              <a:endParaRPr lang="zh-CN" sz="2500" dirty="0">
                <a:solidFill>
                  <a:schemeClr val="accent2"/>
                </a:solidFill>
                <a:latin typeface="FZSJ-YANGGNH" panose="02010600010101010101" pitchFamily="2" charset="-122"/>
                <a:ea typeface="FZSJ-YANGGNH" panose="02010600010101010101" pitchFamily="2" charset="-122"/>
                <a:sym typeface="Calibri" panose="020F0502020204030204" pitchFamily="34" charset="0"/>
              </a:endParaRPr>
            </a:p>
          </p:txBody>
        </p:sp>
      </p:grpSp>
    </p:spTree>
    <p:extLst>
      <p:ext uri="{BB962C8B-B14F-4D97-AF65-F5344CB8AC3E}">
        <p14:creationId xmlns:p14="http://schemas.microsoft.com/office/powerpoint/2010/main" val="252994503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down)">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p:cTn id="19" dur="500" fill="hold"/>
                                        <p:tgtEl>
                                          <p:spTgt spid="25"/>
                                        </p:tgtEl>
                                        <p:attrNameLst>
                                          <p:attrName>ppt_w</p:attrName>
                                        </p:attrNameLst>
                                      </p:cBhvr>
                                      <p:tavLst>
                                        <p:tav tm="0">
                                          <p:val>
                                            <p:fltVal val="0"/>
                                          </p:val>
                                        </p:tav>
                                        <p:tav tm="100000">
                                          <p:val>
                                            <p:strVal val="#ppt_w"/>
                                          </p:val>
                                        </p:tav>
                                      </p:tavLst>
                                    </p:anim>
                                    <p:anim calcmode="lin" valueType="num">
                                      <p:cBhvr>
                                        <p:cTn id="20" dur="500" fill="hold"/>
                                        <p:tgtEl>
                                          <p:spTgt spid="25"/>
                                        </p:tgtEl>
                                        <p:attrNameLst>
                                          <p:attrName>ppt_h</p:attrName>
                                        </p:attrNameLst>
                                      </p:cBhvr>
                                      <p:tavLst>
                                        <p:tav tm="0">
                                          <p:val>
                                            <p:fltVal val="0"/>
                                          </p:val>
                                        </p:tav>
                                        <p:tav tm="100000">
                                          <p:val>
                                            <p:strVal val="#ppt_h"/>
                                          </p:val>
                                        </p:tav>
                                      </p:tavLst>
                                    </p:anim>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p:cTn id="31" dur="500" fill="hold"/>
                                        <p:tgtEl>
                                          <p:spTgt spid="22"/>
                                        </p:tgtEl>
                                        <p:attrNameLst>
                                          <p:attrName>ppt_w</p:attrName>
                                        </p:attrNameLst>
                                      </p:cBhvr>
                                      <p:tavLst>
                                        <p:tav tm="0">
                                          <p:val>
                                            <p:fltVal val="0"/>
                                          </p:val>
                                        </p:tav>
                                        <p:tav tm="100000">
                                          <p:val>
                                            <p:strVal val="#ppt_w"/>
                                          </p:val>
                                        </p:tav>
                                      </p:tavLst>
                                    </p:anim>
                                    <p:anim calcmode="lin" valueType="num">
                                      <p:cBhvr>
                                        <p:cTn id="32" dur="500" fill="hold"/>
                                        <p:tgtEl>
                                          <p:spTgt spid="22"/>
                                        </p:tgtEl>
                                        <p:attrNameLst>
                                          <p:attrName>ppt_h</p:attrName>
                                        </p:attrNameLst>
                                      </p:cBhvr>
                                      <p:tavLst>
                                        <p:tav tm="0">
                                          <p:val>
                                            <p:fltVal val="0"/>
                                          </p:val>
                                        </p:tav>
                                        <p:tav tm="100000">
                                          <p:val>
                                            <p:strVal val="#ppt_h"/>
                                          </p:val>
                                        </p:tav>
                                      </p:tavLst>
                                    </p:anim>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p:cTn id="43" dur="500" fill="hold"/>
                                        <p:tgtEl>
                                          <p:spTgt spid="28"/>
                                        </p:tgtEl>
                                        <p:attrNameLst>
                                          <p:attrName>ppt_w</p:attrName>
                                        </p:attrNameLst>
                                      </p:cBhvr>
                                      <p:tavLst>
                                        <p:tav tm="0">
                                          <p:val>
                                            <p:fltVal val="0"/>
                                          </p:val>
                                        </p:tav>
                                        <p:tav tm="100000">
                                          <p:val>
                                            <p:strVal val="#ppt_w"/>
                                          </p:val>
                                        </p:tav>
                                      </p:tavLst>
                                    </p:anim>
                                    <p:anim calcmode="lin" valueType="num">
                                      <p:cBhvr>
                                        <p:cTn id="44" dur="500" fill="hold"/>
                                        <p:tgtEl>
                                          <p:spTgt spid="28"/>
                                        </p:tgtEl>
                                        <p:attrNameLst>
                                          <p:attrName>ppt_h</p:attrName>
                                        </p:attrNameLst>
                                      </p:cBhvr>
                                      <p:tavLst>
                                        <p:tav tm="0">
                                          <p:val>
                                            <p:fltVal val="0"/>
                                          </p:val>
                                        </p:tav>
                                        <p:tav tm="100000">
                                          <p:val>
                                            <p:strVal val="#ppt_h"/>
                                          </p:val>
                                        </p:tav>
                                      </p:tavLst>
                                    </p:anim>
                                    <p:animEffect transition="in" filter="fade">
                                      <p:cBhvr>
                                        <p:cTn id="45" dur="500"/>
                                        <p:tgtEl>
                                          <p:spTgt spid="28"/>
                                        </p:tgtEl>
                                      </p:cBhvr>
                                    </p:animEffec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anim calcmode="lin" valueType="num">
                                      <p:cBhvr>
                                        <p:cTn id="51" dur="500" fill="hold"/>
                                        <p:tgtEl>
                                          <p:spTgt spid="11"/>
                                        </p:tgtEl>
                                        <p:attrNameLst>
                                          <p:attrName>ppt_x</p:attrName>
                                        </p:attrNameLst>
                                      </p:cBhvr>
                                      <p:tavLst>
                                        <p:tav tm="0">
                                          <p:val>
                                            <p:strVal val="#ppt_x"/>
                                          </p:val>
                                        </p:tav>
                                        <p:tav tm="100000">
                                          <p:val>
                                            <p:strVal val="#ppt_x"/>
                                          </p:val>
                                        </p:tav>
                                      </p:tavLst>
                                    </p:anim>
                                    <p:anim calcmode="lin" valueType="num">
                                      <p:cBhvr>
                                        <p:cTn id="52" dur="500" fill="hold"/>
                                        <p:tgtEl>
                                          <p:spTgt spid="11"/>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anim calcmode="lin" valueType="num">
                                      <p:cBhvr>
                                        <p:cTn id="56" dur="500" fill="hold"/>
                                        <p:tgtEl>
                                          <p:spTgt spid="12"/>
                                        </p:tgtEl>
                                        <p:attrNameLst>
                                          <p:attrName>ppt_x</p:attrName>
                                        </p:attrNameLst>
                                      </p:cBhvr>
                                      <p:tavLst>
                                        <p:tav tm="0">
                                          <p:val>
                                            <p:strVal val="#ppt_x"/>
                                          </p:val>
                                        </p:tav>
                                        <p:tav tm="100000">
                                          <p:val>
                                            <p:strVal val="#ppt_x"/>
                                          </p:val>
                                        </p:tav>
                                      </p:tavLst>
                                    </p:anim>
                                    <p:anim calcmode="lin" valueType="num">
                                      <p:cBhvr>
                                        <p:cTn id="57"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anim calcmode="lin" valueType="num">
                                      <p:cBhvr>
                                        <p:cTn id="68" dur="500" fill="hold"/>
                                        <p:tgtEl>
                                          <p:spTgt spid="16"/>
                                        </p:tgtEl>
                                        <p:attrNameLst>
                                          <p:attrName>ppt_x</p:attrName>
                                        </p:attrNameLst>
                                      </p:cBhvr>
                                      <p:tavLst>
                                        <p:tav tm="0">
                                          <p:val>
                                            <p:strVal val="#ppt_x"/>
                                          </p:val>
                                        </p:tav>
                                        <p:tav tm="100000">
                                          <p:val>
                                            <p:strVal val="#ppt_x"/>
                                          </p:val>
                                        </p:tav>
                                      </p:tavLst>
                                    </p:anim>
                                    <p:anim calcmode="lin" valueType="num">
                                      <p:cBhvr>
                                        <p:cTn id="69" dur="5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anim calcmode="lin" valueType="num">
                                      <p:cBhvr>
                                        <p:cTn id="75" dur="500" fill="hold"/>
                                        <p:tgtEl>
                                          <p:spTgt spid="13"/>
                                        </p:tgtEl>
                                        <p:attrNameLst>
                                          <p:attrName>ppt_x</p:attrName>
                                        </p:attrNameLst>
                                      </p:cBhvr>
                                      <p:tavLst>
                                        <p:tav tm="0">
                                          <p:val>
                                            <p:strVal val="#ppt_x"/>
                                          </p:val>
                                        </p:tav>
                                        <p:tav tm="100000">
                                          <p:val>
                                            <p:strVal val="#ppt_x"/>
                                          </p:val>
                                        </p:tav>
                                      </p:tavLst>
                                    </p:anim>
                                    <p:anim calcmode="lin" valueType="num">
                                      <p:cBhvr>
                                        <p:cTn id="76" dur="500" fill="hold"/>
                                        <p:tgtEl>
                                          <p:spTgt spid="13"/>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14"/>
                                        </p:tgtEl>
                                        <p:attrNameLst>
                                          <p:attrName>style.visibility</p:attrName>
                                        </p:attrNameLst>
                                      </p:cBhvr>
                                      <p:to>
                                        <p:strVal val="visible"/>
                                      </p:to>
                                    </p:set>
                                    <p:animEffect transition="in" filter="fade">
                                      <p:cBhvr>
                                        <p:cTn id="79" dur="500"/>
                                        <p:tgtEl>
                                          <p:spTgt spid="14"/>
                                        </p:tgtEl>
                                      </p:cBhvr>
                                    </p:animEffect>
                                    <p:anim calcmode="lin" valueType="num">
                                      <p:cBhvr>
                                        <p:cTn id="80" dur="500" fill="hold"/>
                                        <p:tgtEl>
                                          <p:spTgt spid="14"/>
                                        </p:tgtEl>
                                        <p:attrNameLst>
                                          <p:attrName>ppt_x</p:attrName>
                                        </p:attrNameLst>
                                      </p:cBhvr>
                                      <p:tavLst>
                                        <p:tav tm="0">
                                          <p:val>
                                            <p:strVal val="#ppt_x"/>
                                          </p:val>
                                        </p:tav>
                                        <p:tav tm="100000">
                                          <p:val>
                                            <p:strVal val="#ppt_x"/>
                                          </p:val>
                                        </p:tav>
                                      </p:tavLst>
                                    </p:anim>
                                    <p:anim calcmode="lin" valueType="num">
                                      <p:cBhvr>
                                        <p:cTn id="81"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500"/>
                                        <p:tgtEl>
                                          <p:spTgt spid="17"/>
                                        </p:tgtEl>
                                      </p:cBhvr>
                                    </p:animEffect>
                                    <p:anim calcmode="lin" valueType="num">
                                      <p:cBhvr>
                                        <p:cTn id="87" dur="500" fill="hold"/>
                                        <p:tgtEl>
                                          <p:spTgt spid="17"/>
                                        </p:tgtEl>
                                        <p:attrNameLst>
                                          <p:attrName>ppt_x</p:attrName>
                                        </p:attrNameLst>
                                      </p:cBhvr>
                                      <p:tavLst>
                                        <p:tav tm="0">
                                          <p:val>
                                            <p:strVal val="#ppt_x"/>
                                          </p:val>
                                        </p:tav>
                                        <p:tav tm="100000">
                                          <p:val>
                                            <p:strVal val="#ppt_x"/>
                                          </p:val>
                                        </p:tav>
                                      </p:tavLst>
                                    </p:anim>
                                    <p:anim calcmode="lin" valueType="num">
                                      <p:cBhvr>
                                        <p:cTn id="88" dur="500" fill="hold"/>
                                        <p:tgtEl>
                                          <p:spTgt spid="17"/>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500"/>
                                        <p:tgtEl>
                                          <p:spTgt spid="18"/>
                                        </p:tgtEl>
                                      </p:cBhvr>
                                    </p:animEffect>
                                    <p:anim calcmode="lin" valueType="num">
                                      <p:cBhvr>
                                        <p:cTn id="92" dur="500" fill="hold"/>
                                        <p:tgtEl>
                                          <p:spTgt spid="18"/>
                                        </p:tgtEl>
                                        <p:attrNameLst>
                                          <p:attrName>ppt_x</p:attrName>
                                        </p:attrNameLst>
                                      </p:cBhvr>
                                      <p:tavLst>
                                        <p:tav tm="0">
                                          <p:val>
                                            <p:strVal val="#ppt_x"/>
                                          </p:val>
                                        </p:tav>
                                        <p:tav tm="100000">
                                          <p:val>
                                            <p:strVal val="#ppt_x"/>
                                          </p:val>
                                        </p:tav>
                                      </p:tavLst>
                                    </p:anim>
                                    <p:anim calcmode="lin" valueType="num">
                                      <p:cBhvr>
                                        <p:cTn id="93"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P spid="14" grpId="0"/>
      <p:bldP spid="15" grpId="0"/>
      <p:bldP spid="16"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1695" y="1419621"/>
            <a:ext cx="3552433" cy="3552433"/>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9878" y="2637804"/>
            <a:ext cx="3552433" cy="3552433"/>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3209" y="1895291"/>
            <a:ext cx="3552433" cy="3552433"/>
          </a:xfrm>
          <a:prstGeom prst="rect">
            <a:avLst/>
          </a:prstGeom>
        </p:spPr>
      </p:pic>
      <p:pic>
        <p:nvPicPr>
          <p:cNvPr id="5" name="图片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98" y="-69107"/>
            <a:ext cx="3552433" cy="3552433"/>
          </a:xfrm>
          <a:prstGeom prst="rect">
            <a:avLst/>
          </a:prstGeom>
        </p:spPr>
      </p:pic>
      <p:pic>
        <p:nvPicPr>
          <p:cNvPr id="6" name="图片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72976" y="1590890"/>
            <a:ext cx="3552433" cy="3552433"/>
          </a:xfrm>
          <a:prstGeom prst="rect">
            <a:avLst/>
          </a:prstGeom>
        </p:spPr>
      </p:pic>
      <p:pic>
        <p:nvPicPr>
          <p:cNvPr id="7" name="图片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11985" y="30366"/>
            <a:ext cx="3552433" cy="3552433"/>
          </a:xfrm>
          <a:prstGeom prst="rect">
            <a:avLst/>
          </a:prstGeom>
        </p:spPr>
      </p:pic>
      <p:pic>
        <p:nvPicPr>
          <p:cNvPr id="8" name="图片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4555" y="2067692"/>
            <a:ext cx="3552433" cy="3552433"/>
          </a:xfrm>
          <a:prstGeom prst="rect">
            <a:avLst/>
          </a:prstGeom>
        </p:spPr>
      </p:pic>
      <p:pic>
        <p:nvPicPr>
          <p:cNvPr id="9" name="图片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4532" y="1935231"/>
            <a:ext cx="3552433" cy="3552433"/>
          </a:xfrm>
          <a:prstGeom prst="rect">
            <a:avLst/>
          </a:prstGeom>
        </p:spPr>
      </p:pic>
      <p:pic>
        <p:nvPicPr>
          <p:cNvPr id="10" name="图片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4540" y="-680631"/>
            <a:ext cx="3552433" cy="3552433"/>
          </a:xfrm>
          <a:prstGeom prst="rect">
            <a:avLst/>
          </a:prstGeom>
        </p:spPr>
      </p:pic>
      <p:pic>
        <p:nvPicPr>
          <p:cNvPr id="11" name="图片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93540" y="1454984"/>
            <a:ext cx="3552433" cy="3552433"/>
          </a:xfrm>
          <a:prstGeom prst="rect">
            <a:avLst/>
          </a:prstGeom>
        </p:spPr>
      </p:pic>
      <p:pic>
        <p:nvPicPr>
          <p:cNvPr id="12" name="图片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57856" y="1203587"/>
            <a:ext cx="3552433" cy="3552433"/>
          </a:xfrm>
          <a:prstGeom prst="rect">
            <a:avLst/>
          </a:prstGeom>
        </p:spPr>
      </p:pic>
      <p:pic>
        <p:nvPicPr>
          <p:cNvPr id="13" name="图片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992" y="885283"/>
            <a:ext cx="3552433" cy="3552433"/>
          </a:xfrm>
          <a:prstGeom prst="rect">
            <a:avLst/>
          </a:prstGeom>
        </p:spPr>
      </p:pic>
      <p:pic>
        <p:nvPicPr>
          <p:cNvPr id="14" name="图片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05914" y="281278"/>
            <a:ext cx="3552433" cy="3552433"/>
          </a:xfrm>
          <a:prstGeom prst="rect">
            <a:avLst/>
          </a:prstGeom>
        </p:spPr>
      </p:pic>
      <p:sp>
        <p:nvSpPr>
          <p:cNvPr id="15" name="文本框 14"/>
          <p:cNvSpPr txBox="1"/>
          <p:nvPr/>
        </p:nvSpPr>
        <p:spPr>
          <a:xfrm>
            <a:off x="135902" y="203692"/>
            <a:ext cx="723275" cy="1887696"/>
          </a:xfrm>
          <a:prstGeom prst="rect">
            <a:avLst/>
          </a:prstGeom>
          <a:noFill/>
        </p:spPr>
        <p:txBody>
          <a:bodyPr vert="eaVert" wrap="none" rtlCol="0">
            <a:spAutoFit/>
          </a:bodyPr>
          <a:lstStyle/>
          <a:p>
            <a:r>
              <a:rPr lang="zh-CN" altLang="en-US" sz="3500" dirty="0">
                <a:solidFill>
                  <a:srgbClr val="829662"/>
                </a:solidFill>
                <a:latin typeface="FZSJ-YANGGNH" panose="02010600010101010101" pitchFamily="2" charset="-122"/>
                <a:ea typeface="FZSJ-YANGGNH" panose="02010600010101010101" pitchFamily="2" charset="-122"/>
              </a:rPr>
              <a:t>备</a:t>
            </a:r>
            <a:r>
              <a:rPr lang="zh-CN" altLang="en-US" sz="3500" dirty="0" smtClean="0">
                <a:solidFill>
                  <a:srgbClr val="829662"/>
                </a:solidFill>
                <a:latin typeface="FZSJ-YANGGNH" panose="02010600010101010101" pitchFamily="2" charset="-122"/>
                <a:ea typeface="FZSJ-YANGGNH" panose="02010600010101010101" pitchFamily="2" charset="-122"/>
              </a:rPr>
              <a:t>用素材</a:t>
            </a:r>
            <a:endParaRPr lang="zh-CN" altLang="en-US" sz="3500" dirty="0">
              <a:solidFill>
                <a:srgbClr val="829662"/>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415346177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7" name="文本框 6"/>
          <p:cNvSpPr txBox="1"/>
          <p:nvPr/>
        </p:nvSpPr>
        <p:spPr>
          <a:xfrm>
            <a:off x="2815056" y="2057566"/>
            <a:ext cx="3065263" cy="1015663"/>
          </a:xfrm>
          <a:prstGeom prst="rect">
            <a:avLst/>
          </a:prstGeom>
          <a:noFill/>
        </p:spPr>
        <p:txBody>
          <a:bodyPr wrap="none" rtlCol="0">
            <a:spAutoFit/>
          </a:bodyPr>
          <a:lstStyle/>
          <a:p>
            <a:r>
              <a:rPr lang="en-US" altLang="zh-CN" sz="6000" dirty="0" smtClean="0">
                <a:solidFill>
                  <a:srgbClr val="829662"/>
                </a:solidFill>
                <a:latin typeface="FZSJ-YANGGNH" panose="02010600010101010101" pitchFamily="2" charset="-122"/>
                <a:ea typeface="FZSJ-YANGGNH" panose="02010600010101010101" pitchFamily="2" charset="-122"/>
              </a:rPr>
              <a:t>01content</a:t>
            </a:r>
            <a:endParaRPr lang="zh-CN" altLang="en-US" sz="6000" dirty="0">
              <a:solidFill>
                <a:srgbClr val="829662"/>
              </a:solidFill>
              <a:latin typeface="FZSJ-YANGGNH" panose="02010600010101010101" pitchFamily="2" charset="-122"/>
              <a:ea typeface="FZSJ-YANGGNH" panose="02010600010101010101" pitchFamily="2" charset="-122"/>
            </a:endParaRPr>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13822098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3000"/>
                            </p:stCondLst>
                            <p:childTnLst>
                              <p:par>
                                <p:cTn id="21" presetID="47"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a:extLst>
              <a:ext uri="{28A0092B-C50C-407E-A947-70E740481C1C}">
                <a14:useLocalDpi xmlns:a14="http://schemas.microsoft.com/office/drawing/2010/main" val="0"/>
              </a:ext>
            </a:extLst>
          </a:blip>
          <a:srcRect l="11379" b="15001"/>
          <a:stretch/>
        </p:blipFill>
        <p:spPr>
          <a:xfrm>
            <a:off x="0" y="0"/>
            <a:ext cx="9139939" cy="5143500"/>
          </a:xfrm>
          <a:prstGeom prst="rect">
            <a:avLst/>
          </a:prstGeom>
        </p:spPr>
      </p:pic>
      <p:pic>
        <p:nvPicPr>
          <p:cNvPr id="18" name="图片 17"/>
          <p:cNvPicPr>
            <a:picLocks noChangeAspect="1"/>
          </p:cNvPicPr>
          <p:nvPr/>
        </p:nvPicPr>
        <p:blipFill rotWithShape="1">
          <a:blip r:embed="rId4">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sp>
        <p:nvSpPr>
          <p:cNvPr id="19" name="文本框 18"/>
          <p:cNvSpPr txBox="1"/>
          <p:nvPr/>
        </p:nvSpPr>
        <p:spPr>
          <a:xfrm>
            <a:off x="3131840" y="2063918"/>
            <a:ext cx="2706190" cy="1015663"/>
          </a:xfrm>
          <a:prstGeom prst="rect">
            <a:avLst/>
          </a:prstGeom>
          <a:noFill/>
        </p:spPr>
        <p:txBody>
          <a:bodyPr wrap="none" rtlCol="0">
            <a:spAutoFit/>
          </a:bodyPr>
          <a:lstStyle/>
          <a:p>
            <a:r>
              <a:rPr lang="en-US" altLang="zh-CN" sz="6000" dirty="0" smtClean="0">
                <a:solidFill>
                  <a:srgbClr val="829662"/>
                </a:solidFill>
                <a:latin typeface="FZSJ-YANGGNH" panose="02010600010101010101" pitchFamily="2" charset="-122"/>
                <a:ea typeface="FZSJ-YANGGNH" panose="02010600010101010101" pitchFamily="2" charset="-122"/>
              </a:rPr>
              <a:t>Thankyou</a:t>
            </a:r>
            <a:endParaRPr lang="zh-CN" altLang="en-US" sz="6000" dirty="0">
              <a:solidFill>
                <a:srgbClr val="829662"/>
              </a:solidFill>
              <a:latin typeface="FZSJ-YANGGNH" panose="02010600010101010101" pitchFamily="2" charset="-122"/>
              <a:ea typeface="FZSJ-YANGGNH" panose="02010600010101010101" pitchFamily="2" charset="-122"/>
            </a:endParaRPr>
          </a:p>
        </p:txBody>
      </p:sp>
      <p:sp>
        <p:nvSpPr>
          <p:cNvPr id="5" name="矩形 4"/>
          <p:cNvSpPr/>
          <p:nvPr/>
        </p:nvSpPr>
        <p:spPr>
          <a:xfrm>
            <a:off x="2987824" y="3022828"/>
            <a:ext cx="4604673" cy="584775"/>
          </a:xfrm>
          <a:prstGeom prst="rect">
            <a:avLst/>
          </a:prstGeom>
          <a:noFill/>
        </p:spPr>
        <p:txBody>
          <a:bodyPr>
            <a:spAutoFit/>
            <a:scene3d>
              <a:camera prst="orthographicFront"/>
              <a:lightRig rig="glow" dir="tl">
                <a:rot lat="0" lon="0" rev="5400000"/>
              </a:lightRig>
            </a:scene3d>
            <a:sp3d contourW="12700">
              <a:bevelT w="25400" h="25400"/>
              <a:contourClr>
                <a:schemeClr val="accent6">
                  <a:shade val="73000"/>
                </a:schemeClr>
              </a:contourClr>
            </a:sp3d>
          </a:bodyPr>
          <a:lstStyle/>
          <a:p>
            <a:pPr algn="ctr">
              <a:defRPr/>
            </a:pPr>
            <a:r>
              <a:rPr lang="zh-CN" altLang="en-US" sz="3200" dirty="0">
                <a:ln w="11430"/>
                <a:solidFill>
                  <a:srgbClr val="84B3A4"/>
                </a:solidFill>
                <a:effectLst>
                  <a:outerShdw blurRad="80000" dist="40000" dir="5040000" algn="tl">
                    <a:srgbClr val="000000">
                      <a:alpha val="30000"/>
                    </a:srgbClr>
                  </a:outerShdw>
                </a:effectLst>
                <a:latin typeface="FZSJ-YANGGNH" panose="02010600010101010101" pitchFamily="2" charset="-122"/>
                <a:ea typeface="FZSJ-YANGGNH" panose="02010600010101010101" pitchFamily="2" charset="-122"/>
              </a:rPr>
              <a:t>千图网感谢一路有你</a:t>
            </a:r>
          </a:p>
        </p:txBody>
      </p:sp>
    </p:spTree>
    <p:extLst>
      <p:ext uri="{BB962C8B-B14F-4D97-AF65-F5344CB8AC3E}">
        <p14:creationId xmlns:p14="http://schemas.microsoft.com/office/powerpoint/2010/main" val="342048704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FZSJ-YANGGNH" panose="02010600010101010101" pitchFamily="2" charset="-122"/>
                <a:ea typeface="FZSJ-YANGGNH" panose="02010600010101010101" pitchFamily="2" charset="-122"/>
              </a:rPr>
              <a:t>标题内容</a:t>
            </a:r>
            <a:endParaRPr lang="en-US" altLang="zh-CN" sz="2800" dirty="0">
              <a:solidFill>
                <a:schemeClr val="bg1"/>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그룹 7"/>
          <p:cNvGrpSpPr/>
          <p:nvPr/>
        </p:nvGrpSpPr>
        <p:grpSpPr>
          <a:xfrm>
            <a:off x="1934563" y="3181753"/>
            <a:ext cx="5648056" cy="1046181"/>
            <a:chOff x="-3854384" y="2708920"/>
            <a:chExt cx="6986224" cy="1294048"/>
          </a:xfrm>
        </p:grpSpPr>
        <p:sp>
          <p:nvSpPr>
            <p:cNvPr id="75" name="한쪽 모서리가 잘린 사각형 8"/>
            <p:cNvSpPr/>
            <p:nvPr/>
          </p:nvSpPr>
          <p:spPr>
            <a:xfrm>
              <a:off x="-3854384" y="2708920"/>
              <a:ext cx="6986224" cy="1294048"/>
            </a:xfrm>
            <a:prstGeom prst="snip1Rect">
              <a:avLst>
                <a:gd name="adj" fmla="val 12326"/>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sp>
          <p:nvSpPr>
            <p:cNvPr id="76" name="직각 삼각형 9"/>
            <p:cNvSpPr/>
            <p:nvPr/>
          </p:nvSpPr>
          <p:spPr>
            <a:xfrm>
              <a:off x="2987824" y="2708920"/>
              <a:ext cx="144016" cy="144016"/>
            </a:xfrm>
            <a:prstGeom prst="r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grpSp>
      <p:grpSp>
        <p:nvGrpSpPr>
          <p:cNvPr id="77" name="그룹 10"/>
          <p:cNvGrpSpPr/>
          <p:nvPr/>
        </p:nvGrpSpPr>
        <p:grpSpPr>
          <a:xfrm>
            <a:off x="1934563" y="1378447"/>
            <a:ext cx="5648056" cy="1046181"/>
            <a:chOff x="-3854384" y="2708920"/>
            <a:chExt cx="6986224" cy="1294048"/>
          </a:xfrm>
        </p:grpSpPr>
        <p:sp>
          <p:nvSpPr>
            <p:cNvPr id="78" name="한쪽 모서리가 잘린 사각형 11"/>
            <p:cNvSpPr/>
            <p:nvPr/>
          </p:nvSpPr>
          <p:spPr>
            <a:xfrm>
              <a:off x="-3854384" y="2708920"/>
              <a:ext cx="6986224" cy="1294048"/>
            </a:xfrm>
            <a:prstGeom prst="snip1Rect">
              <a:avLst>
                <a:gd name="adj" fmla="val 123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sp>
          <p:nvSpPr>
            <p:cNvPr id="79" name="직각 삼각형 12"/>
            <p:cNvSpPr/>
            <p:nvPr/>
          </p:nvSpPr>
          <p:spPr>
            <a:xfrm>
              <a:off x="2987824" y="2708920"/>
              <a:ext cx="144016" cy="14401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grpSp>
      <p:graphicFrame>
        <p:nvGraphicFramePr>
          <p:cNvPr id="80" name="차트 13"/>
          <p:cNvGraphicFramePr/>
          <p:nvPr>
            <p:extLst>
              <p:ext uri="{D42A27DB-BD31-4B8C-83A1-F6EECF244321}">
                <p14:modId xmlns:p14="http://schemas.microsoft.com/office/powerpoint/2010/main" val="1325231834"/>
              </p:ext>
            </p:extLst>
          </p:nvPr>
        </p:nvGraphicFramePr>
        <p:xfrm>
          <a:off x="2416816" y="1401543"/>
          <a:ext cx="5096497" cy="9999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차트 14"/>
          <p:cNvGraphicFramePr/>
          <p:nvPr>
            <p:extLst>
              <p:ext uri="{D42A27DB-BD31-4B8C-83A1-F6EECF244321}">
                <p14:modId xmlns:p14="http://schemas.microsoft.com/office/powerpoint/2010/main" val="1893424169"/>
              </p:ext>
            </p:extLst>
          </p:nvPr>
        </p:nvGraphicFramePr>
        <p:xfrm>
          <a:off x="2416816" y="3204848"/>
          <a:ext cx="5096497" cy="999991"/>
        </p:xfrm>
        <a:graphic>
          <a:graphicData uri="http://schemas.openxmlformats.org/drawingml/2006/chart">
            <c:chart xmlns:c="http://schemas.openxmlformats.org/drawingml/2006/chart" xmlns:r="http://schemas.openxmlformats.org/officeDocument/2006/relationships" r:id="rId4"/>
          </a:graphicData>
        </a:graphic>
      </p:graphicFrame>
      <p:grpSp>
        <p:nvGrpSpPr>
          <p:cNvPr id="82" name="그룹 15"/>
          <p:cNvGrpSpPr/>
          <p:nvPr/>
        </p:nvGrpSpPr>
        <p:grpSpPr>
          <a:xfrm>
            <a:off x="1934563" y="947137"/>
            <a:ext cx="4249718" cy="308531"/>
            <a:chOff x="5982005" y="2113355"/>
            <a:chExt cx="2223696" cy="381629"/>
          </a:xfrm>
        </p:grpSpPr>
        <p:sp>
          <p:nvSpPr>
            <p:cNvPr id="83"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rPr>
                <a:t>标题文字内容</a:t>
              </a:r>
              <a:endParaRPr lang="en-US" altLang="ko-KR" sz="1050" b="1" dirty="0">
                <a:solidFill>
                  <a:schemeClr val="accent1"/>
                </a:solidFill>
                <a:latin typeface="FZSJ-YANGGNH" panose="02010600010101010101" pitchFamily="2" charset="-122"/>
                <a:ea typeface="FZSJ-YANGGNH" panose="02010600010101010101" pitchFamily="2" charset="-122"/>
                <a:cs typeface="Tahoma" panose="020B0604030504040204" pitchFamily="34" charset="0"/>
              </a:endParaRPr>
            </a:p>
          </p:txBody>
        </p:sp>
        <p:sp>
          <p:nvSpPr>
            <p:cNvPr id="84"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rPr>
                <a:t>抓住时下流行颜色和款式设计的感觉</a:t>
              </a:r>
              <a:endParaRPr lang="en-US" sz="800"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endParaRPr>
            </a:p>
          </p:txBody>
        </p:sp>
      </p:grpSp>
      <p:grpSp>
        <p:nvGrpSpPr>
          <p:cNvPr id="85" name="그룹 18"/>
          <p:cNvGrpSpPr/>
          <p:nvPr/>
        </p:nvGrpSpPr>
        <p:grpSpPr>
          <a:xfrm>
            <a:off x="1934563" y="2746423"/>
            <a:ext cx="4249718" cy="308531"/>
            <a:chOff x="5982005" y="2113355"/>
            <a:chExt cx="2223696" cy="381629"/>
          </a:xfrm>
        </p:grpSpPr>
        <p:sp>
          <p:nvSpPr>
            <p:cNvPr id="86"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rPr>
                <a:t>标题文字内容</a:t>
              </a:r>
              <a:endParaRPr lang="en-US" altLang="ko-KR" sz="1050" b="1" dirty="0">
                <a:solidFill>
                  <a:schemeClr val="accent1"/>
                </a:solidFill>
                <a:latin typeface="FZSJ-YANGGNH" panose="02010600010101010101" pitchFamily="2" charset="-122"/>
                <a:ea typeface="FZSJ-YANGGNH" panose="02010600010101010101" pitchFamily="2" charset="-122"/>
                <a:cs typeface="Tahoma" panose="020B0604030504040204" pitchFamily="34" charset="0"/>
              </a:endParaRPr>
            </a:p>
          </p:txBody>
        </p:sp>
        <p:sp>
          <p:nvSpPr>
            <p:cNvPr id="87"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rPr>
                <a:t>抓住时下流行颜色和款式设计的感觉</a:t>
              </a:r>
              <a:endParaRPr lang="en-US" sz="800" dirty="0" smtClean="0">
                <a:solidFill>
                  <a:schemeClr val="accent1"/>
                </a:solidFill>
                <a:latin typeface="FZSJ-YANGGNH" panose="02010600010101010101" pitchFamily="2" charset="-122"/>
                <a:ea typeface="FZSJ-YANGGNH" panose="02010600010101010101" pitchFamily="2" charset="-122"/>
                <a:cs typeface="Tahoma" panose="020B0604030504040204" pitchFamily="34" charset="0"/>
              </a:endParaRPr>
            </a:p>
          </p:txBody>
        </p:sp>
      </p:grpSp>
      <p:grpSp>
        <p:nvGrpSpPr>
          <p:cNvPr id="88" name="그룹 21"/>
          <p:cNvGrpSpPr/>
          <p:nvPr/>
        </p:nvGrpSpPr>
        <p:grpSpPr>
          <a:xfrm>
            <a:off x="1561381" y="1528356"/>
            <a:ext cx="746364" cy="746363"/>
            <a:chOff x="848089" y="2524252"/>
            <a:chExt cx="923196" cy="923196"/>
          </a:xfrm>
        </p:grpSpPr>
        <p:sp>
          <p:nvSpPr>
            <p:cNvPr id="89" name="타원 22"/>
            <p:cNvSpPr/>
            <p:nvPr/>
          </p:nvSpPr>
          <p:spPr>
            <a:xfrm>
              <a:off x="848089" y="2524252"/>
              <a:ext cx="923196" cy="923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sp>
          <p:nvSpPr>
            <p:cNvPr id="90" name="Freeform 7"/>
            <p:cNvSpPr>
              <a:spLocks noEditPoints="1"/>
            </p:cNvSpPr>
            <p:nvPr/>
          </p:nvSpPr>
          <p:spPr bwMode="auto">
            <a:xfrm>
              <a:off x="1047749" y="2723239"/>
              <a:ext cx="523876" cy="525222"/>
            </a:xfrm>
            <a:custGeom>
              <a:avLst/>
              <a:gdLst>
                <a:gd name="T0" fmla="*/ 634 w 1166"/>
                <a:gd name="T1" fmla="*/ 983 h 1168"/>
                <a:gd name="T2" fmla="*/ 855 w 1166"/>
                <a:gd name="T3" fmla="*/ 885 h 1168"/>
                <a:gd name="T4" fmla="*/ 878 w 1166"/>
                <a:gd name="T5" fmla="*/ 852 h 1168"/>
                <a:gd name="T6" fmla="*/ 1163 w 1166"/>
                <a:gd name="T7" fmla="*/ 908 h 1168"/>
                <a:gd name="T8" fmla="*/ 937 w 1166"/>
                <a:gd name="T9" fmla="*/ 931 h 1168"/>
                <a:gd name="T10" fmla="*/ 921 w 1166"/>
                <a:gd name="T11" fmla="*/ 1044 h 1168"/>
                <a:gd name="T12" fmla="*/ 709 w 1166"/>
                <a:gd name="T13" fmla="*/ 1138 h 1168"/>
                <a:gd name="T14" fmla="*/ 673 w 1166"/>
                <a:gd name="T15" fmla="*/ 1168 h 1168"/>
                <a:gd name="T16" fmla="*/ 410 w 1166"/>
                <a:gd name="T17" fmla="*/ 1096 h 1168"/>
                <a:gd name="T18" fmla="*/ 209 w 1166"/>
                <a:gd name="T19" fmla="*/ 730 h 1168"/>
                <a:gd name="T20" fmla="*/ 249 w 1166"/>
                <a:gd name="T21" fmla="*/ 708 h 1168"/>
                <a:gd name="T22" fmla="*/ 257 w 1166"/>
                <a:gd name="T23" fmla="*/ 575 h 1168"/>
                <a:gd name="T24" fmla="*/ 53 w 1166"/>
                <a:gd name="T25" fmla="*/ 540 h 1168"/>
                <a:gd name="T26" fmla="*/ 10 w 1166"/>
                <a:gd name="T27" fmla="*/ 568 h 1168"/>
                <a:gd name="T28" fmla="*/ 10 w 1166"/>
                <a:gd name="T29" fmla="*/ 700 h 1168"/>
                <a:gd name="T30" fmla="*/ 223 w 1166"/>
                <a:gd name="T31" fmla="*/ 953 h 1168"/>
                <a:gd name="T32" fmla="*/ 333 w 1166"/>
                <a:gd name="T33" fmla="*/ 797 h 1168"/>
                <a:gd name="T34" fmla="*/ 489 w 1166"/>
                <a:gd name="T35" fmla="*/ 731 h 1168"/>
                <a:gd name="T36" fmla="*/ 420 w 1166"/>
                <a:gd name="T37" fmla="*/ 898 h 1168"/>
                <a:gd name="T38" fmla="*/ 298 w 1166"/>
                <a:gd name="T39" fmla="*/ 1036 h 1168"/>
                <a:gd name="T40" fmla="*/ 228 w 1166"/>
                <a:gd name="T41" fmla="*/ 1031 h 1168"/>
                <a:gd name="T42" fmla="*/ 215 w 1166"/>
                <a:gd name="T43" fmla="*/ 963 h 1168"/>
                <a:gd name="T44" fmla="*/ 566 w 1166"/>
                <a:gd name="T45" fmla="*/ 11 h 1168"/>
                <a:gd name="T46" fmla="*/ 606 w 1166"/>
                <a:gd name="T47" fmla="*/ 58 h 1168"/>
                <a:gd name="T48" fmla="*/ 610 w 1166"/>
                <a:gd name="T49" fmla="*/ 113 h 1168"/>
                <a:gd name="T50" fmla="*/ 576 w 1166"/>
                <a:gd name="T51" fmla="*/ 176 h 1168"/>
                <a:gd name="T52" fmla="*/ 517 w 1166"/>
                <a:gd name="T53" fmla="*/ 208 h 1168"/>
                <a:gd name="T54" fmla="*/ 467 w 1166"/>
                <a:gd name="T55" fmla="*/ 189 h 1168"/>
                <a:gd name="T56" fmla="*/ 435 w 1166"/>
                <a:gd name="T57" fmla="*/ 127 h 1168"/>
                <a:gd name="T58" fmla="*/ 438 w 1166"/>
                <a:gd name="T59" fmla="*/ 66 h 1168"/>
                <a:gd name="T60" fmla="*/ 474 w 1166"/>
                <a:gd name="T61" fmla="*/ 16 h 1168"/>
                <a:gd name="T62" fmla="*/ 532 w 1166"/>
                <a:gd name="T63" fmla="*/ 1 h 1168"/>
                <a:gd name="T64" fmla="*/ 564 w 1166"/>
                <a:gd name="T65" fmla="*/ 268 h 1168"/>
                <a:gd name="T66" fmla="*/ 684 w 1166"/>
                <a:gd name="T67" fmla="*/ 378 h 1168"/>
                <a:gd name="T68" fmla="*/ 822 w 1166"/>
                <a:gd name="T69" fmla="*/ 391 h 1168"/>
                <a:gd name="T70" fmla="*/ 861 w 1166"/>
                <a:gd name="T71" fmla="*/ 417 h 1168"/>
                <a:gd name="T72" fmla="*/ 851 w 1166"/>
                <a:gd name="T73" fmla="*/ 471 h 1168"/>
                <a:gd name="T74" fmla="*/ 725 w 1166"/>
                <a:gd name="T75" fmla="*/ 489 h 1168"/>
                <a:gd name="T76" fmla="*/ 633 w 1166"/>
                <a:gd name="T77" fmla="*/ 467 h 1168"/>
                <a:gd name="T78" fmla="*/ 547 w 1166"/>
                <a:gd name="T79" fmla="*/ 559 h 1168"/>
                <a:gd name="T80" fmla="*/ 683 w 1166"/>
                <a:gd name="T81" fmla="*/ 630 h 1168"/>
                <a:gd name="T82" fmla="*/ 768 w 1166"/>
                <a:gd name="T83" fmla="*/ 746 h 1168"/>
                <a:gd name="T84" fmla="*/ 805 w 1166"/>
                <a:gd name="T85" fmla="*/ 877 h 1168"/>
                <a:gd name="T86" fmla="*/ 753 w 1166"/>
                <a:gd name="T87" fmla="*/ 919 h 1168"/>
                <a:gd name="T88" fmla="*/ 700 w 1166"/>
                <a:gd name="T89" fmla="*/ 890 h 1168"/>
                <a:gd name="T90" fmla="*/ 587 w 1166"/>
                <a:gd name="T91" fmla="*/ 728 h 1168"/>
                <a:gd name="T92" fmla="*/ 331 w 1166"/>
                <a:gd name="T93" fmla="*/ 633 h 1168"/>
                <a:gd name="T94" fmla="*/ 291 w 1166"/>
                <a:gd name="T95" fmla="*/ 579 h 1168"/>
                <a:gd name="T96" fmla="*/ 266 w 1166"/>
                <a:gd name="T97" fmla="*/ 358 h 1168"/>
                <a:gd name="T98" fmla="*/ 234 w 1166"/>
                <a:gd name="T99" fmla="*/ 414 h 1168"/>
                <a:gd name="T100" fmla="*/ 205 w 1166"/>
                <a:gd name="T101" fmla="*/ 510 h 1168"/>
                <a:gd name="T102" fmla="*/ 150 w 1166"/>
                <a:gd name="T103" fmla="*/ 508 h 1168"/>
                <a:gd name="T104" fmla="*/ 136 w 1166"/>
                <a:gd name="T105" fmla="*/ 437 h 1168"/>
                <a:gd name="T106" fmla="*/ 184 w 1166"/>
                <a:gd name="T107" fmla="*/ 298 h 1168"/>
                <a:gd name="T108" fmla="*/ 353 w 1166"/>
                <a:gd name="T109" fmla="*/ 213 h 1168"/>
                <a:gd name="T110" fmla="*/ 447 w 1166"/>
                <a:gd name="T111" fmla="*/ 22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6" h="1168">
                  <a:moveTo>
                    <a:pt x="436" y="1086"/>
                  </a:moveTo>
                  <a:lnTo>
                    <a:pt x="627" y="1086"/>
                  </a:lnTo>
                  <a:lnTo>
                    <a:pt x="627" y="1004"/>
                  </a:lnTo>
                  <a:lnTo>
                    <a:pt x="627" y="1004"/>
                  </a:lnTo>
                  <a:lnTo>
                    <a:pt x="628" y="997"/>
                  </a:lnTo>
                  <a:lnTo>
                    <a:pt x="630" y="990"/>
                  </a:lnTo>
                  <a:lnTo>
                    <a:pt x="634" y="983"/>
                  </a:lnTo>
                  <a:lnTo>
                    <a:pt x="638" y="978"/>
                  </a:lnTo>
                  <a:lnTo>
                    <a:pt x="643" y="973"/>
                  </a:lnTo>
                  <a:lnTo>
                    <a:pt x="650" y="971"/>
                  </a:lnTo>
                  <a:lnTo>
                    <a:pt x="657" y="968"/>
                  </a:lnTo>
                  <a:lnTo>
                    <a:pt x="664" y="967"/>
                  </a:lnTo>
                  <a:lnTo>
                    <a:pt x="855" y="967"/>
                  </a:lnTo>
                  <a:lnTo>
                    <a:pt x="855" y="885"/>
                  </a:lnTo>
                  <a:lnTo>
                    <a:pt x="855" y="885"/>
                  </a:lnTo>
                  <a:lnTo>
                    <a:pt x="856" y="878"/>
                  </a:lnTo>
                  <a:lnTo>
                    <a:pt x="859" y="872"/>
                  </a:lnTo>
                  <a:lnTo>
                    <a:pt x="862" y="865"/>
                  </a:lnTo>
                  <a:lnTo>
                    <a:pt x="867" y="859"/>
                  </a:lnTo>
                  <a:lnTo>
                    <a:pt x="871" y="854"/>
                  </a:lnTo>
                  <a:lnTo>
                    <a:pt x="878" y="852"/>
                  </a:lnTo>
                  <a:lnTo>
                    <a:pt x="885" y="850"/>
                  </a:lnTo>
                  <a:lnTo>
                    <a:pt x="892" y="849"/>
                  </a:lnTo>
                  <a:lnTo>
                    <a:pt x="1166" y="849"/>
                  </a:lnTo>
                  <a:lnTo>
                    <a:pt x="1166" y="894"/>
                  </a:lnTo>
                  <a:lnTo>
                    <a:pt x="1166" y="894"/>
                  </a:lnTo>
                  <a:lnTo>
                    <a:pt x="1165" y="901"/>
                  </a:lnTo>
                  <a:lnTo>
                    <a:pt x="1163" y="908"/>
                  </a:lnTo>
                  <a:lnTo>
                    <a:pt x="1160" y="915"/>
                  </a:lnTo>
                  <a:lnTo>
                    <a:pt x="1155" y="921"/>
                  </a:lnTo>
                  <a:lnTo>
                    <a:pt x="1150" y="925"/>
                  </a:lnTo>
                  <a:lnTo>
                    <a:pt x="1144" y="927"/>
                  </a:lnTo>
                  <a:lnTo>
                    <a:pt x="1136" y="930"/>
                  </a:lnTo>
                  <a:lnTo>
                    <a:pt x="1129" y="931"/>
                  </a:lnTo>
                  <a:lnTo>
                    <a:pt x="937" y="931"/>
                  </a:lnTo>
                  <a:lnTo>
                    <a:pt x="937" y="1013"/>
                  </a:lnTo>
                  <a:lnTo>
                    <a:pt x="937" y="1013"/>
                  </a:lnTo>
                  <a:lnTo>
                    <a:pt x="937" y="1020"/>
                  </a:lnTo>
                  <a:lnTo>
                    <a:pt x="935" y="1027"/>
                  </a:lnTo>
                  <a:lnTo>
                    <a:pt x="932" y="1034"/>
                  </a:lnTo>
                  <a:lnTo>
                    <a:pt x="927" y="1039"/>
                  </a:lnTo>
                  <a:lnTo>
                    <a:pt x="921" y="1044"/>
                  </a:lnTo>
                  <a:lnTo>
                    <a:pt x="916" y="1046"/>
                  </a:lnTo>
                  <a:lnTo>
                    <a:pt x="909" y="1048"/>
                  </a:lnTo>
                  <a:lnTo>
                    <a:pt x="901" y="1049"/>
                  </a:lnTo>
                  <a:lnTo>
                    <a:pt x="709" y="1049"/>
                  </a:lnTo>
                  <a:lnTo>
                    <a:pt x="709" y="1132"/>
                  </a:lnTo>
                  <a:lnTo>
                    <a:pt x="709" y="1132"/>
                  </a:lnTo>
                  <a:lnTo>
                    <a:pt x="709" y="1138"/>
                  </a:lnTo>
                  <a:lnTo>
                    <a:pt x="707" y="1145"/>
                  </a:lnTo>
                  <a:lnTo>
                    <a:pt x="703" y="1152"/>
                  </a:lnTo>
                  <a:lnTo>
                    <a:pt x="699" y="1158"/>
                  </a:lnTo>
                  <a:lnTo>
                    <a:pt x="693" y="1162"/>
                  </a:lnTo>
                  <a:lnTo>
                    <a:pt x="687" y="1165"/>
                  </a:lnTo>
                  <a:lnTo>
                    <a:pt x="681" y="1167"/>
                  </a:lnTo>
                  <a:lnTo>
                    <a:pt x="673" y="1168"/>
                  </a:lnTo>
                  <a:lnTo>
                    <a:pt x="399" y="1168"/>
                  </a:lnTo>
                  <a:lnTo>
                    <a:pt x="399" y="1123"/>
                  </a:lnTo>
                  <a:lnTo>
                    <a:pt x="399" y="1123"/>
                  </a:lnTo>
                  <a:lnTo>
                    <a:pt x="400" y="1116"/>
                  </a:lnTo>
                  <a:lnTo>
                    <a:pt x="402" y="1109"/>
                  </a:lnTo>
                  <a:lnTo>
                    <a:pt x="406" y="1102"/>
                  </a:lnTo>
                  <a:lnTo>
                    <a:pt x="410" y="1096"/>
                  </a:lnTo>
                  <a:lnTo>
                    <a:pt x="416" y="1092"/>
                  </a:lnTo>
                  <a:lnTo>
                    <a:pt x="422" y="1089"/>
                  </a:lnTo>
                  <a:lnTo>
                    <a:pt x="428" y="1087"/>
                  </a:lnTo>
                  <a:lnTo>
                    <a:pt x="436" y="1086"/>
                  </a:lnTo>
                  <a:lnTo>
                    <a:pt x="436" y="1086"/>
                  </a:lnTo>
                  <a:close/>
                  <a:moveTo>
                    <a:pt x="37" y="715"/>
                  </a:moveTo>
                  <a:lnTo>
                    <a:pt x="209" y="730"/>
                  </a:lnTo>
                  <a:lnTo>
                    <a:pt x="209" y="730"/>
                  </a:lnTo>
                  <a:lnTo>
                    <a:pt x="218" y="730"/>
                  </a:lnTo>
                  <a:lnTo>
                    <a:pt x="226" y="728"/>
                  </a:lnTo>
                  <a:lnTo>
                    <a:pt x="233" y="724"/>
                  </a:lnTo>
                  <a:lnTo>
                    <a:pt x="240" y="721"/>
                  </a:lnTo>
                  <a:lnTo>
                    <a:pt x="246" y="715"/>
                  </a:lnTo>
                  <a:lnTo>
                    <a:pt x="249" y="708"/>
                  </a:lnTo>
                  <a:lnTo>
                    <a:pt x="253" y="700"/>
                  </a:lnTo>
                  <a:lnTo>
                    <a:pt x="254" y="692"/>
                  </a:lnTo>
                  <a:lnTo>
                    <a:pt x="263" y="599"/>
                  </a:lnTo>
                  <a:lnTo>
                    <a:pt x="263" y="599"/>
                  </a:lnTo>
                  <a:lnTo>
                    <a:pt x="262" y="590"/>
                  </a:lnTo>
                  <a:lnTo>
                    <a:pt x="261" y="582"/>
                  </a:lnTo>
                  <a:lnTo>
                    <a:pt x="257" y="575"/>
                  </a:lnTo>
                  <a:lnTo>
                    <a:pt x="253" y="568"/>
                  </a:lnTo>
                  <a:lnTo>
                    <a:pt x="247" y="562"/>
                  </a:lnTo>
                  <a:lnTo>
                    <a:pt x="240" y="559"/>
                  </a:lnTo>
                  <a:lnTo>
                    <a:pt x="233" y="555"/>
                  </a:lnTo>
                  <a:lnTo>
                    <a:pt x="225" y="554"/>
                  </a:lnTo>
                  <a:lnTo>
                    <a:pt x="53" y="540"/>
                  </a:lnTo>
                  <a:lnTo>
                    <a:pt x="53" y="540"/>
                  </a:lnTo>
                  <a:lnTo>
                    <a:pt x="44" y="540"/>
                  </a:lnTo>
                  <a:lnTo>
                    <a:pt x="36" y="541"/>
                  </a:lnTo>
                  <a:lnTo>
                    <a:pt x="29" y="544"/>
                  </a:lnTo>
                  <a:lnTo>
                    <a:pt x="22" y="549"/>
                  </a:lnTo>
                  <a:lnTo>
                    <a:pt x="16" y="554"/>
                  </a:lnTo>
                  <a:lnTo>
                    <a:pt x="13" y="561"/>
                  </a:lnTo>
                  <a:lnTo>
                    <a:pt x="10" y="568"/>
                  </a:lnTo>
                  <a:lnTo>
                    <a:pt x="8" y="576"/>
                  </a:lnTo>
                  <a:lnTo>
                    <a:pt x="0" y="671"/>
                  </a:lnTo>
                  <a:lnTo>
                    <a:pt x="0" y="671"/>
                  </a:lnTo>
                  <a:lnTo>
                    <a:pt x="0" y="679"/>
                  </a:lnTo>
                  <a:lnTo>
                    <a:pt x="2" y="687"/>
                  </a:lnTo>
                  <a:lnTo>
                    <a:pt x="5" y="694"/>
                  </a:lnTo>
                  <a:lnTo>
                    <a:pt x="10" y="700"/>
                  </a:lnTo>
                  <a:lnTo>
                    <a:pt x="15" y="706"/>
                  </a:lnTo>
                  <a:lnTo>
                    <a:pt x="22" y="711"/>
                  </a:lnTo>
                  <a:lnTo>
                    <a:pt x="29" y="714"/>
                  </a:lnTo>
                  <a:lnTo>
                    <a:pt x="37" y="715"/>
                  </a:lnTo>
                  <a:lnTo>
                    <a:pt x="37" y="715"/>
                  </a:lnTo>
                  <a:close/>
                  <a:moveTo>
                    <a:pt x="223" y="953"/>
                  </a:moveTo>
                  <a:lnTo>
                    <a:pt x="223" y="953"/>
                  </a:lnTo>
                  <a:lnTo>
                    <a:pt x="278" y="889"/>
                  </a:lnTo>
                  <a:lnTo>
                    <a:pt x="297" y="862"/>
                  </a:lnTo>
                  <a:lnTo>
                    <a:pt x="306" y="851"/>
                  </a:lnTo>
                  <a:lnTo>
                    <a:pt x="313" y="838"/>
                  </a:lnTo>
                  <a:lnTo>
                    <a:pt x="320" y="826"/>
                  </a:lnTo>
                  <a:lnTo>
                    <a:pt x="327" y="812"/>
                  </a:lnTo>
                  <a:lnTo>
                    <a:pt x="333" y="797"/>
                  </a:lnTo>
                  <a:lnTo>
                    <a:pt x="338" y="780"/>
                  </a:lnTo>
                  <a:lnTo>
                    <a:pt x="350" y="741"/>
                  </a:lnTo>
                  <a:lnTo>
                    <a:pt x="362" y="691"/>
                  </a:lnTo>
                  <a:lnTo>
                    <a:pt x="362" y="691"/>
                  </a:lnTo>
                  <a:lnTo>
                    <a:pt x="476" y="728"/>
                  </a:lnTo>
                  <a:lnTo>
                    <a:pt x="476" y="728"/>
                  </a:lnTo>
                  <a:lnTo>
                    <a:pt x="489" y="731"/>
                  </a:lnTo>
                  <a:lnTo>
                    <a:pt x="489" y="731"/>
                  </a:lnTo>
                  <a:lnTo>
                    <a:pt x="469" y="788"/>
                  </a:lnTo>
                  <a:lnTo>
                    <a:pt x="454" y="832"/>
                  </a:lnTo>
                  <a:lnTo>
                    <a:pt x="446" y="851"/>
                  </a:lnTo>
                  <a:lnTo>
                    <a:pt x="438" y="868"/>
                  </a:lnTo>
                  <a:lnTo>
                    <a:pt x="428" y="883"/>
                  </a:lnTo>
                  <a:lnTo>
                    <a:pt x="420" y="898"/>
                  </a:lnTo>
                  <a:lnTo>
                    <a:pt x="411" y="911"/>
                  </a:lnTo>
                  <a:lnTo>
                    <a:pt x="401" y="925"/>
                  </a:lnTo>
                  <a:lnTo>
                    <a:pt x="376" y="954"/>
                  </a:lnTo>
                  <a:lnTo>
                    <a:pt x="346" y="987"/>
                  </a:lnTo>
                  <a:lnTo>
                    <a:pt x="307" y="1028"/>
                  </a:lnTo>
                  <a:lnTo>
                    <a:pt x="307" y="1028"/>
                  </a:lnTo>
                  <a:lnTo>
                    <a:pt x="298" y="1036"/>
                  </a:lnTo>
                  <a:lnTo>
                    <a:pt x="287" y="1043"/>
                  </a:lnTo>
                  <a:lnTo>
                    <a:pt x="277" y="1046"/>
                  </a:lnTo>
                  <a:lnTo>
                    <a:pt x="266" y="1046"/>
                  </a:lnTo>
                  <a:lnTo>
                    <a:pt x="255" y="1046"/>
                  </a:lnTo>
                  <a:lnTo>
                    <a:pt x="245" y="1043"/>
                  </a:lnTo>
                  <a:lnTo>
                    <a:pt x="236" y="1038"/>
                  </a:lnTo>
                  <a:lnTo>
                    <a:pt x="228" y="1031"/>
                  </a:lnTo>
                  <a:lnTo>
                    <a:pt x="220" y="1024"/>
                  </a:lnTo>
                  <a:lnTo>
                    <a:pt x="214" y="1015"/>
                  </a:lnTo>
                  <a:lnTo>
                    <a:pt x="210" y="1006"/>
                  </a:lnTo>
                  <a:lnTo>
                    <a:pt x="208" y="996"/>
                  </a:lnTo>
                  <a:lnTo>
                    <a:pt x="208" y="986"/>
                  </a:lnTo>
                  <a:lnTo>
                    <a:pt x="210" y="974"/>
                  </a:lnTo>
                  <a:lnTo>
                    <a:pt x="215" y="963"/>
                  </a:lnTo>
                  <a:lnTo>
                    <a:pt x="223" y="953"/>
                  </a:lnTo>
                  <a:lnTo>
                    <a:pt x="223" y="953"/>
                  </a:lnTo>
                  <a:close/>
                  <a:moveTo>
                    <a:pt x="541" y="2"/>
                  </a:moveTo>
                  <a:lnTo>
                    <a:pt x="541" y="2"/>
                  </a:lnTo>
                  <a:lnTo>
                    <a:pt x="551" y="4"/>
                  </a:lnTo>
                  <a:lnTo>
                    <a:pt x="559" y="8"/>
                  </a:lnTo>
                  <a:lnTo>
                    <a:pt x="566" y="11"/>
                  </a:lnTo>
                  <a:lnTo>
                    <a:pt x="574" y="17"/>
                  </a:lnTo>
                  <a:lnTo>
                    <a:pt x="581" y="22"/>
                  </a:lnTo>
                  <a:lnTo>
                    <a:pt x="587" y="28"/>
                  </a:lnTo>
                  <a:lnTo>
                    <a:pt x="593" y="35"/>
                  </a:lnTo>
                  <a:lnTo>
                    <a:pt x="598" y="42"/>
                  </a:lnTo>
                  <a:lnTo>
                    <a:pt x="602" y="50"/>
                  </a:lnTo>
                  <a:lnTo>
                    <a:pt x="606" y="58"/>
                  </a:lnTo>
                  <a:lnTo>
                    <a:pt x="609" y="66"/>
                  </a:lnTo>
                  <a:lnTo>
                    <a:pt x="611" y="75"/>
                  </a:lnTo>
                  <a:lnTo>
                    <a:pt x="612" y="84"/>
                  </a:lnTo>
                  <a:lnTo>
                    <a:pt x="612" y="93"/>
                  </a:lnTo>
                  <a:lnTo>
                    <a:pt x="611" y="104"/>
                  </a:lnTo>
                  <a:lnTo>
                    <a:pt x="610" y="113"/>
                  </a:lnTo>
                  <a:lnTo>
                    <a:pt x="610" y="113"/>
                  </a:lnTo>
                  <a:lnTo>
                    <a:pt x="608" y="122"/>
                  </a:lnTo>
                  <a:lnTo>
                    <a:pt x="604" y="132"/>
                  </a:lnTo>
                  <a:lnTo>
                    <a:pt x="600" y="141"/>
                  </a:lnTo>
                  <a:lnTo>
                    <a:pt x="595" y="150"/>
                  </a:lnTo>
                  <a:lnTo>
                    <a:pt x="589" y="158"/>
                  </a:lnTo>
                  <a:lnTo>
                    <a:pt x="582" y="168"/>
                  </a:lnTo>
                  <a:lnTo>
                    <a:pt x="576" y="176"/>
                  </a:lnTo>
                  <a:lnTo>
                    <a:pt x="569" y="182"/>
                  </a:lnTo>
                  <a:lnTo>
                    <a:pt x="561" y="189"/>
                  </a:lnTo>
                  <a:lnTo>
                    <a:pt x="553" y="195"/>
                  </a:lnTo>
                  <a:lnTo>
                    <a:pt x="544" y="200"/>
                  </a:lnTo>
                  <a:lnTo>
                    <a:pt x="535" y="203"/>
                  </a:lnTo>
                  <a:lnTo>
                    <a:pt x="527" y="206"/>
                  </a:lnTo>
                  <a:lnTo>
                    <a:pt x="517" y="208"/>
                  </a:lnTo>
                  <a:lnTo>
                    <a:pt x="508" y="208"/>
                  </a:lnTo>
                  <a:lnTo>
                    <a:pt x="499" y="206"/>
                  </a:lnTo>
                  <a:lnTo>
                    <a:pt x="499" y="206"/>
                  </a:lnTo>
                  <a:lnTo>
                    <a:pt x="490" y="204"/>
                  </a:lnTo>
                  <a:lnTo>
                    <a:pt x="482" y="200"/>
                  </a:lnTo>
                  <a:lnTo>
                    <a:pt x="474" y="195"/>
                  </a:lnTo>
                  <a:lnTo>
                    <a:pt x="467" y="189"/>
                  </a:lnTo>
                  <a:lnTo>
                    <a:pt x="460" y="181"/>
                  </a:lnTo>
                  <a:lnTo>
                    <a:pt x="455" y="174"/>
                  </a:lnTo>
                  <a:lnTo>
                    <a:pt x="449" y="165"/>
                  </a:lnTo>
                  <a:lnTo>
                    <a:pt x="444" y="156"/>
                  </a:lnTo>
                  <a:lnTo>
                    <a:pt x="441" y="147"/>
                  </a:lnTo>
                  <a:lnTo>
                    <a:pt x="438" y="137"/>
                  </a:lnTo>
                  <a:lnTo>
                    <a:pt x="435" y="127"/>
                  </a:lnTo>
                  <a:lnTo>
                    <a:pt x="433" y="116"/>
                  </a:lnTo>
                  <a:lnTo>
                    <a:pt x="433" y="106"/>
                  </a:lnTo>
                  <a:lnTo>
                    <a:pt x="433" y="96"/>
                  </a:lnTo>
                  <a:lnTo>
                    <a:pt x="433" y="85"/>
                  </a:lnTo>
                  <a:lnTo>
                    <a:pt x="435" y="75"/>
                  </a:lnTo>
                  <a:lnTo>
                    <a:pt x="435" y="75"/>
                  </a:lnTo>
                  <a:lnTo>
                    <a:pt x="438" y="66"/>
                  </a:lnTo>
                  <a:lnTo>
                    <a:pt x="441" y="57"/>
                  </a:lnTo>
                  <a:lnTo>
                    <a:pt x="444" y="49"/>
                  </a:lnTo>
                  <a:lnTo>
                    <a:pt x="449" y="41"/>
                  </a:lnTo>
                  <a:lnTo>
                    <a:pt x="455" y="34"/>
                  </a:lnTo>
                  <a:lnTo>
                    <a:pt x="460" y="27"/>
                  </a:lnTo>
                  <a:lnTo>
                    <a:pt x="467" y="22"/>
                  </a:lnTo>
                  <a:lnTo>
                    <a:pt x="474" y="16"/>
                  </a:lnTo>
                  <a:lnTo>
                    <a:pt x="482" y="11"/>
                  </a:lnTo>
                  <a:lnTo>
                    <a:pt x="489" y="8"/>
                  </a:lnTo>
                  <a:lnTo>
                    <a:pt x="498" y="4"/>
                  </a:lnTo>
                  <a:lnTo>
                    <a:pt x="506" y="2"/>
                  </a:lnTo>
                  <a:lnTo>
                    <a:pt x="515" y="1"/>
                  </a:lnTo>
                  <a:lnTo>
                    <a:pt x="523" y="0"/>
                  </a:lnTo>
                  <a:lnTo>
                    <a:pt x="532" y="1"/>
                  </a:lnTo>
                  <a:lnTo>
                    <a:pt x="541" y="2"/>
                  </a:lnTo>
                  <a:lnTo>
                    <a:pt x="541" y="2"/>
                  </a:lnTo>
                  <a:close/>
                  <a:moveTo>
                    <a:pt x="531" y="253"/>
                  </a:moveTo>
                  <a:lnTo>
                    <a:pt x="531" y="253"/>
                  </a:lnTo>
                  <a:lnTo>
                    <a:pt x="540" y="257"/>
                  </a:lnTo>
                  <a:lnTo>
                    <a:pt x="552" y="261"/>
                  </a:lnTo>
                  <a:lnTo>
                    <a:pt x="564" y="268"/>
                  </a:lnTo>
                  <a:lnTo>
                    <a:pt x="570" y="273"/>
                  </a:lnTo>
                  <a:lnTo>
                    <a:pt x="576" y="277"/>
                  </a:lnTo>
                  <a:lnTo>
                    <a:pt x="576" y="277"/>
                  </a:lnTo>
                  <a:lnTo>
                    <a:pt x="650" y="349"/>
                  </a:lnTo>
                  <a:lnTo>
                    <a:pt x="662" y="360"/>
                  </a:lnTo>
                  <a:lnTo>
                    <a:pt x="674" y="370"/>
                  </a:lnTo>
                  <a:lnTo>
                    <a:pt x="684" y="378"/>
                  </a:lnTo>
                  <a:lnTo>
                    <a:pt x="694" y="383"/>
                  </a:lnTo>
                  <a:lnTo>
                    <a:pt x="705" y="388"/>
                  </a:lnTo>
                  <a:lnTo>
                    <a:pt x="716" y="390"/>
                  </a:lnTo>
                  <a:lnTo>
                    <a:pt x="727" y="392"/>
                  </a:lnTo>
                  <a:lnTo>
                    <a:pt x="741" y="393"/>
                  </a:lnTo>
                  <a:lnTo>
                    <a:pt x="775" y="393"/>
                  </a:lnTo>
                  <a:lnTo>
                    <a:pt x="822" y="391"/>
                  </a:lnTo>
                  <a:lnTo>
                    <a:pt x="822" y="391"/>
                  </a:lnTo>
                  <a:lnTo>
                    <a:pt x="831" y="392"/>
                  </a:lnTo>
                  <a:lnTo>
                    <a:pt x="840" y="395"/>
                  </a:lnTo>
                  <a:lnTo>
                    <a:pt x="847" y="398"/>
                  </a:lnTo>
                  <a:lnTo>
                    <a:pt x="853" y="404"/>
                  </a:lnTo>
                  <a:lnTo>
                    <a:pt x="858" y="411"/>
                  </a:lnTo>
                  <a:lnTo>
                    <a:pt x="861" y="417"/>
                  </a:lnTo>
                  <a:lnTo>
                    <a:pt x="862" y="425"/>
                  </a:lnTo>
                  <a:lnTo>
                    <a:pt x="863" y="433"/>
                  </a:lnTo>
                  <a:lnTo>
                    <a:pt x="863" y="443"/>
                  </a:lnTo>
                  <a:lnTo>
                    <a:pt x="862" y="451"/>
                  </a:lnTo>
                  <a:lnTo>
                    <a:pt x="859" y="457"/>
                  </a:lnTo>
                  <a:lnTo>
                    <a:pt x="855" y="464"/>
                  </a:lnTo>
                  <a:lnTo>
                    <a:pt x="851" y="471"/>
                  </a:lnTo>
                  <a:lnTo>
                    <a:pt x="845" y="476"/>
                  </a:lnTo>
                  <a:lnTo>
                    <a:pt x="837" y="479"/>
                  </a:lnTo>
                  <a:lnTo>
                    <a:pt x="829" y="480"/>
                  </a:lnTo>
                  <a:lnTo>
                    <a:pt x="829" y="480"/>
                  </a:lnTo>
                  <a:lnTo>
                    <a:pt x="780" y="486"/>
                  </a:lnTo>
                  <a:lnTo>
                    <a:pt x="741" y="489"/>
                  </a:lnTo>
                  <a:lnTo>
                    <a:pt x="725" y="489"/>
                  </a:lnTo>
                  <a:lnTo>
                    <a:pt x="710" y="489"/>
                  </a:lnTo>
                  <a:lnTo>
                    <a:pt x="697" y="489"/>
                  </a:lnTo>
                  <a:lnTo>
                    <a:pt x="683" y="487"/>
                  </a:lnTo>
                  <a:lnTo>
                    <a:pt x="670" y="484"/>
                  </a:lnTo>
                  <a:lnTo>
                    <a:pt x="658" y="479"/>
                  </a:lnTo>
                  <a:lnTo>
                    <a:pt x="646" y="473"/>
                  </a:lnTo>
                  <a:lnTo>
                    <a:pt x="633" y="467"/>
                  </a:lnTo>
                  <a:lnTo>
                    <a:pt x="619" y="456"/>
                  </a:lnTo>
                  <a:lnTo>
                    <a:pt x="604" y="446"/>
                  </a:lnTo>
                  <a:lnTo>
                    <a:pt x="569" y="416"/>
                  </a:lnTo>
                  <a:lnTo>
                    <a:pt x="546" y="544"/>
                  </a:lnTo>
                  <a:lnTo>
                    <a:pt x="546" y="544"/>
                  </a:lnTo>
                  <a:lnTo>
                    <a:pt x="545" y="552"/>
                  </a:lnTo>
                  <a:lnTo>
                    <a:pt x="547" y="559"/>
                  </a:lnTo>
                  <a:lnTo>
                    <a:pt x="552" y="565"/>
                  </a:lnTo>
                  <a:lnTo>
                    <a:pt x="557" y="569"/>
                  </a:lnTo>
                  <a:lnTo>
                    <a:pt x="557" y="569"/>
                  </a:lnTo>
                  <a:lnTo>
                    <a:pt x="608" y="591"/>
                  </a:lnTo>
                  <a:lnTo>
                    <a:pt x="649" y="610"/>
                  </a:lnTo>
                  <a:lnTo>
                    <a:pt x="667" y="619"/>
                  </a:lnTo>
                  <a:lnTo>
                    <a:pt x="683" y="630"/>
                  </a:lnTo>
                  <a:lnTo>
                    <a:pt x="698" y="640"/>
                  </a:lnTo>
                  <a:lnTo>
                    <a:pt x="711" y="652"/>
                  </a:lnTo>
                  <a:lnTo>
                    <a:pt x="724" y="666"/>
                  </a:lnTo>
                  <a:lnTo>
                    <a:pt x="735" y="682"/>
                  </a:lnTo>
                  <a:lnTo>
                    <a:pt x="747" y="700"/>
                  </a:lnTo>
                  <a:lnTo>
                    <a:pt x="758" y="722"/>
                  </a:lnTo>
                  <a:lnTo>
                    <a:pt x="768" y="746"/>
                  </a:lnTo>
                  <a:lnTo>
                    <a:pt x="780" y="775"/>
                  </a:lnTo>
                  <a:lnTo>
                    <a:pt x="791" y="806"/>
                  </a:lnTo>
                  <a:lnTo>
                    <a:pt x="803" y="843"/>
                  </a:lnTo>
                  <a:lnTo>
                    <a:pt x="803" y="843"/>
                  </a:lnTo>
                  <a:lnTo>
                    <a:pt x="806" y="856"/>
                  </a:lnTo>
                  <a:lnTo>
                    <a:pt x="807" y="867"/>
                  </a:lnTo>
                  <a:lnTo>
                    <a:pt x="805" y="877"/>
                  </a:lnTo>
                  <a:lnTo>
                    <a:pt x="802" y="886"/>
                  </a:lnTo>
                  <a:lnTo>
                    <a:pt x="796" y="895"/>
                  </a:lnTo>
                  <a:lnTo>
                    <a:pt x="789" y="902"/>
                  </a:lnTo>
                  <a:lnTo>
                    <a:pt x="781" y="909"/>
                  </a:lnTo>
                  <a:lnTo>
                    <a:pt x="772" y="914"/>
                  </a:lnTo>
                  <a:lnTo>
                    <a:pt x="763" y="917"/>
                  </a:lnTo>
                  <a:lnTo>
                    <a:pt x="753" y="919"/>
                  </a:lnTo>
                  <a:lnTo>
                    <a:pt x="742" y="919"/>
                  </a:lnTo>
                  <a:lnTo>
                    <a:pt x="733" y="917"/>
                  </a:lnTo>
                  <a:lnTo>
                    <a:pt x="723" y="914"/>
                  </a:lnTo>
                  <a:lnTo>
                    <a:pt x="715" y="908"/>
                  </a:lnTo>
                  <a:lnTo>
                    <a:pt x="707" y="900"/>
                  </a:lnTo>
                  <a:lnTo>
                    <a:pt x="700" y="890"/>
                  </a:lnTo>
                  <a:lnTo>
                    <a:pt x="700" y="890"/>
                  </a:lnTo>
                  <a:lnTo>
                    <a:pt x="682" y="854"/>
                  </a:lnTo>
                  <a:lnTo>
                    <a:pt x="665" y="824"/>
                  </a:lnTo>
                  <a:lnTo>
                    <a:pt x="649" y="798"/>
                  </a:lnTo>
                  <a:lnTo>
                    <a:pt x="634" y="776"/>
                  </a:lnTo>
                  <a:lnTo>
                    <a:pt x="619" y="757"/>
                  </a:lnTo>
                  <a:lnTo>
                    <a:pt x="603" y="741"/>
                  </a:lnTo>
                  <a:lnTo>
                    <a:pt x="587" y="728"/>
                  </a:lnTo>
                  <a:lnTo>
                    <a:pt x="570" y="716"/>
                  </a:lnTo>
                  <a:lnTo>
                    <a:pt x="551" y="707"/>
                  </a:lnTo>
                  <a:lnTo>
                    <a:pt x="530" y="698"/>
                  </a:lnTo>
                  <a:lnTo>
                    <a:pt x="506" y="689"/>
                  </a:lnTo>
                  <a:lnTo>
                    <a:pt x="480" y="680"/>
                  </a:lnTo>
                  <a:lnTo>
                    <a:pt x="415" y="660"/>
                  </a:lnTo>
                  <a:lnTo>
                    <a:pt x="331" y="633"/>
                  </a:lnTo>
                  <a:lnTo>
                    <a:pt x="331" y="633"/>
                  </a:lnTo>
                  <a:lnTo>
                    <a:pt x="321" y="626"/>
                  </a:lnTo>
                  <a:lnTo>
                    <a:pt x="312" y="618"/>
                  </a:lnTo>
                  <a:lnTo>
                    <a:pt x="304" y="610"/>
                  </a:lnTo>
                  <a:lnTo>
                    <a:pt x="298" y="600"/>
                  </a:lnTo>
                  <a:lnTo>
                    <a:pt x="295" y="590"/>
                  </a:lnTo>
                  <a:lnTo>
                    <a:pt x="291" y="579"/>
                  </a:lnTo>
                  <a:lnTo>
                    <a:pt x="290" y="567"/>
                  </a:lnTo>
                  <a:lnTo>
                    <a:pt x="289" y="555"/>
                  </a:lnTo>
                  <a:lnTo>
                    <a:pt x="329" y="335"/>
                  </a:lnTo>
                  <a:lnTo>
                    <a:pt x="329" y="335"/>
                  </a:lnTo>
                  <a:lnTo>
                    <a:pt x="298" y="346"/>
                  </a:lnTo>
                  <a:lnTo>
                    <a:pt x="275" y="354"/>
                  </a:lnTo>
                  <a:lnTo>
                    <a:pt x="266" y="358"/>
                  </a:lnTo>
                  <a:lnTo>
                    <a:pt x="259" y="364"/>
                  </a:lnTo>
                  <a:lnTo>
                    <a:pt x="253" y="370"/>
                  </a:lnTo>
                  <a:lnTo>
                    <a:pt x="248" y="375"/>
                  </a:lnTo>
                  <a:lnTo>
                    <a:pt x="244" y="383"/>
                  </a:lnTo>
                  <a:lnTo>
                    <a:pt x="240" y="392"/>
                  </a:lnTo>
                  <a:lnTo>
                    <a:pt x="238" y="403"/>
                  </a:lnTo>
                  <a:lnTo>
                    <a:pt x="234" y="414"/>
                  </a:lnTo>
                  <a:lnTo>
                    <a:pt x="229" y="445"/>
                  </a:lnTo>
                  <a:lnTo>
                    <a:pt x="222" y="485"/>
                  </a:lnTo>
                  <a:lnTo>
                    <a:pt x="222" y="485"/>
                  </a:lnTo>
                  <a:lnTo>
                    <a:pt x="220" y="493"/>
                  </a:lnTo>
                  <a:lnTo>
                    <a:pt x="216" y="500"/>
                  </a:lnTo>
                  <a:lnTo>
                    <a:pt x="210" y="505"/>
                  </a:lnTo>
                  <a:lnTo>
                    <a:pt x="205" y="510"/>
                  </a:lnTo>
                  <a:lnTo>
                    <a:pt x="197" y="513"/>
                  </a:lnTo>
                  <a:lnTo>
                    <a:pt x="189" y="516"/>
                  </a:lnTo>
                  <a:lnTo>
                    <a:pt x="181" y="517"/>
                  </a:lnTo>
                  <a:lnTo>
                    <a:pt x="173" y="516"/>
                  </a:lnTo>
                  <a:lnTo>
                    <a:pt x="165" y="514"/>
                  </a:lnTo>
                  <a:lnTo>
                    <a:pt x="157" y="511"/>
                  </a:lnTo>
                  <a:lnTo>
                    <a:pt x="150" y="508"/>
                  </a:lnTo>
                  <a:lnTo>
                    <a:pt x="144" y="502"/>
                  </a:lnTo>
                  <a:lnTo>
                    <a:pt x="139" y="495"/>
                  </a:lnTo>
                  <a:lnTo>
                    <a:pt x="135" y="488"/>
                  </a:lnTo>
                  <a:lnTo>
                    <a:pt x="133" y="479"/>
                  </a:lnTo>
                  <a:lnTo>
                    <a:pt x="133" y="469"/>
                  </a:lnTo>
                  <a:lnTo>
                    <a:pt x="133" y="469"/>
                  </a:lnTo>
                  <a:lnTo>
                    <a:pt x="136" y="437"/>
                  </a:lnTo>
                  <a:lnTo>
                    <a:pt x="141" y="408"/>
                  </a:lnTo>
                  <a:lnTo>
                    <a:pt x="145" y="383"/>
                  </a:lnTo>
                  <a:lnTo>
                    <a:pt x="151" y="362"/>
                  </a:lnTo>
                  <a:lnTo>
                    <a:pt x="157" y="342"/>
                  </a:lnTo>
                  <a:lnTo>
                    <a:pt x="165" y="325"/>
                  </a:lnTo>
                  <a:lnTo>
                    <a:pt x="174" y="310"/>
                  </a:lnTo>
                  <a:lnTo>
                    <a:pt x="184" y="298"/>
                  </a:lnTo>
                  <a:lnTo>
                    <a:pt x="197" y="285"/>
                  </a:lnTo>
                  <a:lnTo>
                    <a:pt x="212" y="275"/>
                  </a:lnTo>
                  <a:lnTo>
                    <a:pt x="229" y="265"/>
                  </a:lnTo>
                  <a:lnTo>
                    <a:pt x="248" y="255"/>
                  </a:lnTo>
                  <a:lnTo>
                    <a:pt x="270" y="245"/>
                  </a:lnTo>
                  <a:lnTo>
                    <a:pt x="294" y="236"/>
                  </a:lnTo>
                  <a:lnTo>
                    <a:pt x="353" y="213"/>
                  </a:lnTo>
                  <a:lnTo>
                    <a:pt x="353" y="213"/>
                  </a:lnTo>
                  <a:lnTo>
                    <a:pt x="363" y="211"/>
                  </a:lnTo>
                  <a:lnTo>
                    <a:pt x="376" y="211"/>
                  </a:lnTo>
                  <a:lnTo>
                    <a:pt x="390" y="212"/>
                  </a:lnTo>
                  <a:lnTo>
                    <a:pt x="403" y="214"/>
                  </a:lnTo>
                  <a:lnTo>
                    <a:pt x="430" y="220"/>
                  </a:lnTo>
                  <a:lnTo>
                    <a:pt x="447" y="226"/>
                  </a:lnTo>
                  <a:lnTo>
                    <a:pt x="499" y="318"/>
                  </a:lnTo>
                  <a:lnTo>
                    <a:pt x="531" y="253"/>
                  </a:lnTo>
                  <a:lnTo>
                    <a:pt x="531" y="25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FZSJ-YANGGNH" panose="02010600010101010101" pitchFamily="2" charset="-122"/>
              </a:endParaRPr>
            </a:p>
          </p:txBody>
        </p:sp>
      </p:grpSp>
      <p:grpSp>
        <p:nvGrpSpPr>
          <p:cNvPr id="91" name="그룹 24"/>
          <p:cNvGrpSpPr/>
          <p:nvPr/>
        </p:nvGrpSpPr>
        <p:grpSpPr>
          <a:xfrm>
            <a:off x="1561381" y="3331662"/>
            <a:ext cx="746364" cy="746363"/>
            <a:chOff x="848089" y="4829495"/>
            <a:chExt cx="923196" cy="923196"/>
          </a:xfrm>
        </p:grpSpPr>
        <p:sp>
          <p:nvSpPr>
            <p:cNvPr id="92" name="타원 25"/>
            <p:cNvSpPr/>
            <p:nvPr/>
          </p:nvSpPr>
          <p:spPr>
            <a:xfrm>
              <a:off x="848089" y="4829495"/>
              <a:ext cx="923196" cy="9231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FZSJ-YANGGNH" panose="02010600010101010101" pitchFamily="2" charset="-122"/>
              </a:endParaRPr>
            </a:p>
          </p:txBody>
        </p:sp>
        <p:sp>
          <p:nvSpPr>
            <p:cNvPr id="93" name="Freeform 8"/>
            <p:cNvSpPr>
              <a:spLocks noEditPoints="1"/>
            </p:cNvSpPr>
            <p:nvPr/>
          </p:nvSpPr>
          <p:spPr bwMode="auto">
            <a:xfrm>
              <a:off x="1062562" y="5085717"/>
              <a:ext cx="494250" cy="410752"/>
            </a:xfrm>
            <a:custGeom>
              <a:avLst/>
              <a:gdLst>
                <a:gd name="T0" fmla="*/ 986 w 1102"/>
                <a:gd name="T1" fmla="*/ 519 h 916"/>
                <a:gd name="T2" fmla="*/ 1002 w 1102"/>
                <a:gd name="T3" fmla="*/ 634 h 916"/>
                <a:gd name="T4" fmla="*/ 964 w 1102"/>
                <a:gd name="T5" fmla="*/ 722 h 916"/>
                <a:gd name="T6" fmla="*/ 877 w 1102"/>
                <a:gd name="T7" fmla="*/ 781 h 916"/>
                <a:gd name="T8" fmla="*/ 827 w 1102"/>
                <a:gd name="T9" fmla="*/ 847 h 916"/>
                <a:gd name="T10" fmla="*/ 754 w 1102"/>
                <a:gd name="T11" fmla="*/ 889 h 916"/>
                <a:gd name="T12" fmla="*/ 642 w 1102"/>
                <a:gd name="T13" fmla="*/ 906 h 916"/>
                <a:gd name="T14" fmla="*/ 673 w 1102"/>
                <a:gd name="T15" fmla="*/ 859 h 916"/>
                <a:gd name="T16" fmla="*/ 721 w 1102"/>
                <a:gd name="T17" fmla="*/ 841 h 916"/>
                <a:gd name="T18" fmla="*/ 642 w 1102"/>
                <a:gd name="T19" fmla="*/ 730 h 916"/>
                <a:gd name="T20" fmla="*/ 761 w 1102"/>
                <a:gd name="T21" fmla="*/ 783 h 916"/>
                <a:gd name="T22" fmla="*/ 819 w 1102"/>
                <a:gd name="T23" fmla="*/ 786 h 916"/>
                <a:gd name="T24" fmla="*/ 723 w 1102"/>
                <a:gd name="T25" fmla="*/ 679 h 916"/>
                <a:gd name="T26" fmla="*/ 736 w 1102"/>
                <a:gd name="T27" fmla="*/ 636 h 916"/>
                <a:gd name="T28" fmla="*/ 871 w 1102"/>
                <a:gd name="T29" fmla="*/ 725 h 916"/>
                <a:gd name="T30" fmla="*/ 909 w 1102"/>
                <a:gd name="T31" fmla="*/ 686 h 916"/>
                <a:gd name="T32" fmla="*/ 779 w 1102"/>
                <a:gd name="T33" fmla="*/ 558 h 916"/>
                <a:gd name="T34" fmla="*/ 822 w 1102"/>
                <a:gd name="T35" fmla="*/ 543 h 916"/>
                <a:gd name="T36" fmla="*/ 957 w 1102"/>
                <a:gd name="T37" fmla="*/ 603 h 916"/>
                <a:gd name="T38" fmla="*/ 655 w 1102"/>
                <a:gd name="T39" fmla="*/ 289 h 916"/>
                <a:gd name="T40" fmla="*/ 700 w 1102"/>
                <a:gd name="T41" fmla="*/ 274 h 916"/>
                <a:gd name="T42" fmla="*/ 92 w 1102"/>
                <a:gd name="T43" fmla="*/ 421 h 916"/>
                <a:gd name="T44" fmla="*/ 0 w 1102"/>
                <a:gd name="T45" fmla="*/ 244 h 916"/>
                <a:gd name="T46" fmla="*/ 166 w 1102"/>
                <a:gd name="T47" fmla="*/ 31 h 916"/>
                <a:gd name="T48" fmla="*/ 248 w 1102"/>
                <a:gd name="T49" fmla="*/ 2 h 916"/>
                <a:gd name="T50" fmla="*/ 346 w 1102"/>
                <a:gd name="T51" fmla="*/ 57 h 916"/>
                <a:gd name="T52" fmla="*/ 503 w 1102"/>
                <a:gd name="T53" fmla="*/ 39 h 916"/>
                <a:gd name="T54" fmla="*/ 324 w 1102"/>
                <a:gd name="T55" fmla="*/ 107 h 916"/>
                <a:gd name="T56" fmla="*/ 223 w 1102"/>
                <a:gd name="T57" fmla="*/ 57 h 916"/>
                <a:gd name="T58" fmla="*/ 57 w 1102"/>
                <a:gd name="T59" fmla="*/ 257 h 916"/>
                <a:gd name="T60" fmla="*/ 136 w 1102"/>
                <a:gd name="T61" fmla="*/ 353 h 916"/>
                <a:gd name="T62" fmla="*/ 142 w 1102"/>
                <a:gd name="T63" fmla="*/ 480 h 916"/>
                <a:gd name="T64" fmla="*/ 515 w 1102"/>
                <a:gd name="T65" fmla="*/ 757 h 916"/>
                <a:gd name="T66" fmla="*/ 490 w 1102"/>
                <a:gd name="T67" fmla="*/ 742 h 916"/>
                <a:gd name="T68" fmla="*/ 437 w 1102"/>
                <a:gd name="T69" fmla="*/ 679 h 916"/>
                <a:gd name="T70" fmla="*/ 377 w 1102"/>
                <a:gd name="T71" fmla="*/ 681 h 916"/>
                <a:gd name="T72" fmla="*/ 354 w 1102"/>
                <a:gd name="T73" fmla="*/ 616 h 916"/>
                <a:gd name="T74" fmla="*/ 283 w 1102"/>
                <a:gd name="T75" fmla="*/ 601 h 916"/>
                <a:gd name="T76" fmla="*/ 271 w 1102"/>
                <a:gd name="T77" fmla="*/ 524 h 916"/>
                <a:gd name="T78" fmla="*/ 187 w 1102"/>
                <a:gd name="T79" fmla="*/ 506 h 916"/>
                <a:gd name="T80" fmla="*/ 128 w 1102"/>
                <a:gd name="T81" fmla="*/ 583 h 916"/>
                <a:gd name="T82" fmla="*/ 166 w 1102"/>
                <a:gd name="T83" fmla="*/ 654 h 916"/>
                <a:gd name="T84" fmla="*/ 220 w 1102"/>
                <a:gd name="T85" fmla="*/ 664 h 916"/>
                <a:gd name="T86" fmla="*/ 229 w 1102"/>
                <a:gd name="T87" fmla="*/ 762 h 916"/>
                <a:gd name="T88" fmla="*/ 326 w 1102"/>
                <a:gd name="T89" fmla="*/ 758 h 916"/>
                <a:gd name="T90" fmla="*/ 343 w 1102"/>
                <a:gd name="T91" fmla="*/ 809 h 916"/>
                <a:gd name="T92" fmla="*/ 439 w 1102"/>
                <a:gd name="T93" fmla="*/ 827 h 916"/>
                <a:gd name="T94" fmla="*/ 458 w 1102"/>
                <a:gd name="T95" fmla="*/ 848 h 916"/>
                <a:gd name="T96" fmla="*/ 518 w 1102"/>
                <a:gd name="T97" fmla="*/ 899 h 916"/>
                <a:gd name="T98" fmla="*/ 592 w 1102"/>
                <a:gd name="T99" fmla="*/ 858 h 916"/>
                <a:gd name="T100" fmla="*/ 577 w 1102"/>
                <a:gd name="T101" fmla="*/ 771 h 916"/>
                <a:gd name="T102" fmla="*/ 992 w 1102"/>
                <a:gd name="T103" fmla="*/ 425 h 916"/>
                <a:gd name="T104" fmla="*/ 1045 w 1102"/>
                <a:gd name="T105" fmla="*/ 300 h 916"/>
                <a:gd name="T106" fmla="*/ 1084 w 1102"/>
                <a:gd name="T107" fmla="*/ 166 h 916"/>
                <a:gd name="T108" fmla="*/ 828 w 1102"/>
                <a:gd name="T109" fmla="*/ 40 h 916"/>
                <a:gd name="T110" fmla="*/ 657 w 1102"/>
                <a:gd name="T111" fmla="*/ 41 h 916"/>
                <a:gd name="T112" fmla="*/ 319 w 1102"/>
                <a:gd name="T113" fmla="*/ 237 h 916"/>
                <a:gd name="T114" fmla="*/ 343 w 1102"/>
                <a:gd name="T115" fmla="*/ 324 h 916"/>
                <a:gd name="T116" fmla="*/ 584 w 1102"/>
                <a:gd name="T117" fmla="*/ 214 h 916"/>
                <a:gd name="T118" fmla="*/ 683 w 1102"/>
                <a:gd name="T119" fmla="*/ 231 h 916"/>
                <a:gd name="T120" fmla="*/ 764 w 1102"/>
                <a:gd name="T121" fmla="*/ 245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2" h="916">
                  <a:moveTo>
                    <a:pt x="717" y="273"/>
                  </a:moveTo>
                  <a:lnTo>
                    <a:pt x="717" y="273"/>
                  </a:lnTo>
                  <a:lnTo>
                    <a:pt x="817" y="363"/>
                  </a:lnTo>
                  <a:lnTo>
                    <a:pt x="866" y="407"/>
                  </a:lnTo>
                  <a:lnTo>
                    <a:pt x="915" y="454"/>
                  </a:lnTo>
                  <a:lnTo>
                    <a:pt x="915" y="454"/>
                  </a:lnTo>
                  <a:lnTo>
                    <a:pt x="922" y="459"/>
                  </a:lnTo>
                  <a:lnTo>
                    <a:pt x="929" y="465"/>
                  </a:lnTo>
                  <a:lnTo>
                    <a:pt x="965" y="498"/>
                  </a:lnTo>
                  <a:lnTo>
                    <a:pt x="986" y="519"/>
                  </a:lnTo>
                  <a:lnTo>
                    <a:pt x="986" y="519"/>
                  </a:lnTo>
                  <a:lnTo>
                    <a:pt x="995" y="530"/>
                  </a:lnTo>
                  <a:lnTo>
                    <a:pt x="1002" y="540"/>
                  </a:lnTo>
                  <a:lnTo>
                    <a:pt x="1007" y="550"/>
                  </a:lnTo>
                  <a:lnTo>
                    <a:pt x="1011" y="561"/>
                  </a:lnTo>
                  <a:lnTo>
                    <a:pt x="1014" y="572"/>
                  </a:lnTo>
                  <a:lnTo>
                    <a:pt x="1014" y="583"/>
                  </a:lnTo>
                  <a:lnTo>
                    <a:pt x="1014" y="593"/>
                  </a:lnTo>
                  <a:lnTo>
                    <a:pt x="1013" y="605"/>
                  </a:lnTo>
                  <a:lnTo>
                    <a:pt x="1011" y="615"/>
                  </a:lnTo>
                  <a:lnTo>
                    <a:pt x="1006" y="625"/>
                  </a:lnTo>
                  <a:lnTo>
                    <a:pt x="1002" y="634"/>
                  </a:lnTo>
                  <a:lnTo>
                    <a:pt x="996" y="644"/>
                  </a:lnTo>
                  <a:lnTo>
                    <a:pt x="988" y="652"/>
                  </a:lnTo>
                  <a:lnTo>
                    <a:pt x="980" y="658"/>
                  </a:lnTo>
                  <a:lnTo>
                    <a:pt x="972" y="664"/>
                  </a:lnTo>
                  <a:lnTo>
                    <a:pt x="962" y="669"/>
                  </a:lnTo>
                  <a:lnTo>
                    <a:pt x="962" y="669"/>
                  </a:lnTo>
                  <a:lnTo>
                    <a:pt x="965" y="680"/>
                  </a:lnTo>
                  <a:lnTo>
                    <a:pt x="967" y="692"/>
                  </a:lnTo>
                  <a:lnTo>
                    <a:pt x="967" y="702"/>
                  </a:lnTo>
                  <a:lnTo>
                    <a:pt x="966" y="712"/>
                  </a:lnTo>
                  <a:lnTo>
                    <a:pt x="964" y="722"/>
                  </a:lnTo>
                  <a:lnTo>
                    <a:pt x="960" y="731"/>
                  </a:lnTo>
                  <a:lnTo>
                    <a:pt x="956" y="741"/>
                  </a:lnTo>
                  <a:lnTo>
                    <a:pt x="950" y="749"/>
                  </a:lnTo>
                  <a:lnTo>
                    <a:pt x="943" y="755"/>
                  </a:lnTo>
                  <a:lnTo>
                    <a:pt x="937" y="762"/>
                  </a:lnTo>
                  <a:lnTo>
                    <a:pt x="927" y="768"/>
                  </a:lnTo>
                  <a:lnTo>
                    <a:pt x="918" y="774"/>
                  </a:lnTo>
                  <a:lnTo>
                    <a:pt x="909" y="777"/>
                  </a:lnTo>
                  <a:lnTo>
                    <a:pt x="899" y="779"/>
                  </a:lnTo>
                  <a:lnTo>
                    <a:pt x="889" y="781"/>
                  </a:lnTo>
                  <a:lnTo>
                    <a:pt x="877" y="781"/>
                  </a:lnTo>
                  <a:lnTo>
                    <a:pt x="877" y="781"/>
                  </a:lnTo>
                  <a:lnTo>
                    <a:pt x="876" y="790"/>
                  </a:lnTo>
                  <a:lnTo>
                    <a:pt x="874" y="799"/>
                  </a:lnTo>
                  <a:lnTo>
                    <a:pt x="870" y="807"/>
                  </a:lnTo>
                  <a:lnTo>
                    <a:pt x="866" y="815"/>
                  </a:lnTo>
                  <a:lnTo>
                    <a:pt x="861" y="822"/>
                  </a:lnTo>
                  <a:lnTo>
                    <a:pt x="855" y="827"/>
                  </a:lnTo>
                  <a:lnTo>
                    <a:pt x="849" y="834"/>
                  </a:lnTo>
                  <a:lnTo>
                    <a:pt x="842" y="839"/>
                  </a:lnTo>
                  <a:lnTo>
                    <a:pt x="835" y="843"/>
                  </a:lnTo>
                  <a:lnTo>
                    <a:pt x="827" y="847"/>
                  </a:lnTo>
                  <a:lnTo>
                    <a:pt x="819" y="850"/>
                  </a:lnTo>
                  <a:lnTo>
                    <a:pt x="811" y="852"/>
                  </a:lnTo>
                  <a:lnTo>
                    <a:pt x="802" y="854"/>
                  </a:lnTo>
                  <a:lnTo>
                    <a:pt x="793" y="854"/>
                  </a:lnTo>
                  <a:lnTo>
                    <a:pt x="784" y="852"/>
                  </a:lnTo>
                  <a:lnTo>
                    <a:pt x="774" y="851"/>
                  </a:lnTo>
                  <a:lnTo>
                    <a:pt x="774" y="851"/>
                  </a:lnTo>
                  <a:lnTo>
                    <a:pt x="771" y="862"/>
                  </a:lnTo>
                  <a:lnTo>
                    <a:pt x="766" y="872"/>
                  </a:lnTo>
                  <a:lnTo>
                    <a:pt x="761" y="881"/>
                  </a:lnTo>
                  <a:lnTo>
                    <a:pt x="754" y="889"/>
                  </a:lnTo>
                  <a:lnTo>
                    <a:pt x="746" y="897"/>
                  </a:lnTo>
                  <a:lnTo>
                    <a:pt x="738" y="903"/>
                  </a:lnTo>
                  <a:lnTo>
                    <a:pt x="729" y="907"/>
                  </a:lnTo>
                  <a:lnTo>
                    <a:pt x="719" y="912"/>
                  </a:lnTo>
                  <a:lnTo>
                    <a:pt x="708" y="914"/>
                  </a:lnTo>
                  <a:lnTo>
                    <a:pt x="698" y="916"/>
                  </a:lnTo>
                  <a:lnTo>
                    <a:pt x="687" y="916"/>
                  </a:lnTo>
                  <a:lnTo>
                    <a:pt x="675" y="915"/>
                  </a:lnTo>
                  <a:lnTo>
                    <a:pt x="664" y="914"/>
                  </a:lnTo>
                  <a:lnTo>
                    <a:pt x="652" y="911"/>
                  </a:lnTo>
                  <a:lnTo>
                    <a:pt x="642" y="906"/>
                  </a:lnTo>
                  <a:lnTo>
                    <a:pt x="631" y="900"/>
                  </a:lnTo>
                  <a:lnTo>
                    <a:pt x="623" y="895"/>
                  </a:lnTo>
                  <a:lnTo>
                    <a:pt x="623" y="895"/>
                  </a:lnTo>
                  <a:lnTo>
                    <a:pt x="631" y="883"/>
                  </a:lnTo>
                  <a:lnTo>
                    <a:pt x="636" y="871"/>
                  </a:lnTo>
                  <a:lnTo>
                    <a:pt x="641" y="858"/>
                  </a:lnTo>
                  <a:lnTo>
                    <a:pt x="644" y="844"/>
                  </a:lnTo>
                  <a:lnTo>
                    <a:pt x="644" y="844"/>
                  </a:lnTo>
                  <a:lnTo>
                    <a:pt x="656" y="851"/>
                  </a:lnTo>
                  <a:lnTo>
                    <a:pt x="667" y="857"/>
                  </a:lnTo>
                  <a:lnTo>
                    <a:pt x="673" y="859"/>
                  </a:lnTo>
                  <a:lnTo>
                    <a:pt x="679" y="860"/>
                  </a:lnTo>
                  <a:lnTo>
                    <a:pt x="684" y="862"/>
                  </a:lnTo>
                  <a:lnTo>
                    <a:pt x="691" y="862"/>
                  </a:lnTo>
                  <a:lnTo>
                    <a:pt x="691" y="862"/>
                  </a:lnTo>
                  <a:lnTo>
                    <a:pt x="701" y="859"/>
                  </a:lnTo>
                  <a:lnTo>
                    <a:pt x="709" y="856"/>
                  </a:lnTo>
                  <a:lnTo>
                    <a:pt x="713" y="852"/>
                  </a:lnTo>
                  <a:lnTo>
                    <a:pt x="716" y="849"/>
                  </a:lnTo>
                  <a:lnTo>
                    <a:pt x="719" y="846"/>
                  </a:lnTo>
                  <a:lnTo>
                    <a:pt x="721" y="841"/>
                  </a:lnTo>
                  <a:lnTo>
                    <a:pt x="721" y="841"/>
                  </a:lnTo>
                  <a:lnTo>
                    <a:pt x="722" y="832"/>
                  </a:lnTo>
                  <a:lnTo>
                    <a:pt x="720" y="820"/>
                  </a:lnTo>
                  <a:lnTo>
                    <a:pt x="649" y="763"/>
                  </a:lnTo>
                  <a:lnTo>
                    <a:pt x="649" y="763"/>
                  </a:lnTo>
                  <a:lnTo>
                    <a:pt x="645" y="760"/>
                  </a:lnTo>
                  <a:lnTo>
                    <a:pt x="642" y="755"/>
                  </a:lnTo>
                  <a:lnTo>
                    <a:pt x="640" y="751"/>
                  </a:lnTo>
                  <a:lnTo>
                    <a:pt x="639" y="745"/>
                  </a:lnTo>
                  <a:lnTo>
                    <a:pt x="639" y="741"/>
                  </a:lnTo>
                  <a:lnTo>
                    <a:pt x="640" y="735"/>
                  </a:lnTo>
                  <a:lnTo>
                    <a:pt x="642" y="730"/>
                  </a:lnTo>
                  <a:lnTo>
                    <a:pt x="644" y="726"/>
                  </a:lnTo>
                  <a:lnTo>
                    <a:pt x="644" y="726"/>
                  </a:lnTo>
                  <a:lnTo>
                    <a:pt x="649" y="721"/>
                  </a:lnTo>
                  <a:lnTo>
                    <a:pt x="653" y="719"/>
                  </a:lnTo>
                  <a:lnTo>
                    <a:pt x="658" y="717"/>
                  </a:lnTo>
                  <a:lnTo>
                    <a:pt x="663" y="716"/>
                  </a:lnTo>
                  <a:lnTo>
                    <a:pt x="668" y="716"/>
                  </a:lnTo>
                  <a:lnTo>
                    <a:pt x="673" y="717"/>
                  </a:lnTo>
                  <a:lnTo>
                    <a:pt x="679" y="718"/>
                  </a:lnTo>
                  <a:lnTo>
                    <a:pt x="683" y="721"/>
                  </a:lnTo>
                  <a:lnTo>
                    <a:pt x="761" y="783"/>
                  </a:lnTo>
                  <a:lnTo>
                    <a:pt x="761" y="783"/>
                  </a:lnTo>
                  <a:lnTo>
                    <a:pt x="768" y="789"/>
                  </a:lnTo>
                  <a:lnTo>
                    <a:pt x="774" y="793"/>
                  </a:lnTo>
                  <a:lnTo>
                    <a:pt x="782" y="797"/>
                  </a:lnTo>
                  <a:lnTo>
                    <a:pt x="789" y="798"/>
                  </a:lnTo>
                  <a:lnTo>
                    <a:pt x="795" y="799"/>
                  </a:lnTo>
                  <a:lnTo>
                    <a:pt x="802" y="798"/>
                  </a:lnTo>
                  <a:lnTo>
                    <a:pt x="809" y="795"/>
                  </a:lnTo>
                  <a:lnTo>
                    <a:pt x="814" y="792"/>
                  </a:lnTo>
                  <a:lnTo>
                    <a:pt x="814" y="792"/>
                  </a:lnTo>
                  <a:lnTo>
                    <a:pt x="819" y="786"/>
                  </a:lnTo>
                  <a:lnTo>
                    <a:pt x="822" y="781"/>
                  </a:lnTo>
                  <a:lnTo>
                    <a:pt x="822" y="781"/>
                  </a:lnTo>
                  <a:lnTo>
                    <a:pt x="824" y="774"/>
                  </a:lnTo>
                  <a:lnTo>
                    <a:pt x="825" y="767"/>
                  </a:lnTo>
                  <a:lnTo>
                    <a:pt x="825" y="763"/>
                  </a:lnTo>
                  <a:lnTo>
                    <a:pt x="824" y="760"/>
                  </a:lnTo>
                  <a:lnTo>
                    <a:pt x="821" y="758"/>
                  </a:lnTo>
                  <a:lnTo>
                    <a:pt x="819" y="754"/>
                  </a:lnTo>
                  <a:lnTo>
                    <a:pt x="727" y="682"/>
                  </a:lnTo>
                  <a:lnTo>
                    <a:pt x="727" y="682"/>
                  </a:lnTo>
                  <a:lnTo>
                    <a:pt x="723" y="679"/>
                  </a:lnTo>
                  <a:lnTo>
                    <a:pt x="720" y="674"/>
                  </a:lnTo>
                  <a:lnTo>
                    <a:pt x="717" y="670"/>
                  </a:lnTo>
                  <a:lnTo>
                    <a:pt x="716" y="664"/>
                  </a:lnTo>
                  <a:lnTo>
                    <a:pt x="716" y="660"/>
                  </a:lnTo>
                  <a:lnTo>
                    <a:pt x="717" y="654"/>
                  </a:lnTo>
                  <a:lnTo>
                    <a:pt x="720" y="649"/>
                  </a:lnTo>
                  <a:lnTo>
                    <a:pt x="722" y="645"/>
                  </a:lnTo>
                  <a:lnTo>
                    <a:pt x="722" y="645"/>
                  </a:lnTo>
                  <a:lnTo>
                    <a:pt x="727" y="640"/>
                  </a:lnTo>
                  <a:lnTo>
                    <a:pt x="731" y="638"/>
                  </a:lnTo>
                  <a:lnTo>
                    <a:pt x="736" y="636"/>
                  </a:lnTo>
                  <a:lnTo>
                    <a:pt x="740" y="634"/>
                  </a:lnTo>
                  <a:lnTo>
                    <a:pt x="746" y="634"/>
                  </a:lnTo>
                  <a:lnTo>
                    <a:pt x="750" y="634"/>
                  </a:lnTo>
                  <a:lnTo>
                    <a:pt x="756" y="637"/>
                  </a:lnTo>
                  <a:lnTo>
                    <a:pt x="761" y="640"/>
                  </a:lnTo>
                  <a:lnTo>
                    <a:pt x="857" y="716"/>
                  </a:lnTo>
                  <a:lnTo>
                    <a:pt x="857" y="716"/>
                  </a:lnTo>
                  <a:lnTo>
                    <a:pt x="859" y="717"/>
                  </a:lnTo>
                  <a:lnTo>
                    <a:pt x="859" y="717"/>
                  </a:lnTo>
                  <a:lnTo>
                    <a:pt x="865" y="721"/>
                  </a:lnTo>
                  <a:lnTo>
                    <a:pt x="871" y="725"/>
                  </a:lnTo>
                  <a:lnTo>
                    <a:pt x="878" y="726"/>
                  </a:lnTo>
                  <a:lnTo>
                    <a:pt x="884" y="727"/>
                  </a:lnTo>
                  <a:lnTo>
                    <a:pt x="891" y="726"/>
                  </a:lnTo>
                  <a:lnTo>
                    <a:pt x="897" y="723"/>
                  </a:lnTo>
                  <a:lnTo>
                    <a:pt x="901" y="720"/>
                  </a:lnTo>
                  <a:lnTo>
                    <a:pt x="906" y="717"/>
                  </a:lnTo>
                  <a:lnTo>
                    <a:pt x="909" y="711"/>
                  </a:lnTo>
                  <a:lnTo>
                    <a:pt x="911" y="705"/>
                  </a:lnTo>
                  <a:lnTo>
                    <a:pt x="913" y="700"/>
                  </a:lnTo>
                  <a:lnTo>
                    <a:pt x="911" y="693"/>
                  </a:lnTo>
                  <a:lnTo>
                    <a:pt x="909" y="686"/>
                  </a:lnTo>
                  <a:lnTo>
                    <a:pt x="906" y="678"/>
                  </a:lnTo>
                  <a:lnTo>
                    <a:pt x="899" y="671"/>
                  </a:lnTo>
                  <a:lnTo>
                    <a:pt x="891" y="663"/>
                  </a:lnTo>
                  <a:lnTo>
                    <a:pt x="789" y="587"/>
                  </a:lnTo>
                  <a:lnTo>
                    <a:pt x="789" y="587"/>
                  </a:lnTo>
                  <a:lnTo>
                    <a:pt x="785" y="583"/>
                  </a:lnTo>
                  <a:lnTo>
                    <a:pt x="782" y="579"/>
                  </a:lnTo>
                  <a:lnTo>
                    <a:pt x="780" y="574"/>
                  </a:lnTo>
                  <a:lnTo>
                    <a:pt x="779" y="568"/>
                  </a:lnTo>
                  <a:lnTo>
                    <a:pt x="779" y="564"/>
                  </a:lnTo>
                  <a:lnTo>
                    <a:pt x="779" y="558"/>
                  </a:lnTo>
                  <a:lnTo>
                    <a:pt x="781" y="553"/>
                  </a:lnTo>
                  <a:lnTo>
                    <a:pt x="784" y="549"/>
                  </a:lnTo>
                  <a:lnTo>
                    <a:pt x="784" y="549"/>
                  </a:lnTo>
                  <a:lnTo>
                    <a:pt x="788" y="544"/>
                  </a:lnTo>
                  <a:lnTo>
                    <a:pt x="792" y="541"/>
                  </a:lnTo>
                  <a:lnTo>
                    <a:pt x="797" y="539"/>
                  </a:lnTo>
                  <a:lnTo>
                    <a:pt x="802" y="538"/>
                  </a:lnTo>
                  <a:lnTo>
                    <a:pt x="808" y="538"/>
                  </a:lnTo>
                  <a:lnTo>
                    <a:pt x="812" y="539"/>
                  </a:lnTo>
                  <a:lnTo>
                    <a:pt x="818" y="540"/>
                  </a:lnTo>
                  <a:lnTo>
                    <a:pt x="822" y="543"/>
                  </a:lnTo>
                  <a:lnTo>
                    <a:pt x="923" y="619"/>
                  </a:lnTo>
                  <a:lnTo>
                    <a:pt x="923" y="619"/>
                  </a:lnTo>
                  <a:lnTo>
                    <a:pt x="927" y="621"/>
                  </a:lnTo>
                  <a:lnTo>
                    <a:pt x="931" y="621"/>
                  </a:lnTo>
                  <a:lnTo>
                    <a:pt x="935" y="621"/>
                  </a:lnTo>
                  <a:lnTo>
                    <a:pt x="939" y="620"/>
                  </a:lnTo>
                  <a:lnTo>
                    <a:pt x="943" y="617"/>
                  </a:lnTo>
                  <a:lnTo>
                    <a:pt x="947" y="615"/>
                  </a:lnTo>
                  <a:lnTo>
                    <a:pt x="954" y="608"/>
                  </a:lnTo>
                  <a:lnTo>
                    <a:pt x="954" y="608"/>
                  </a:lnTo>
                  <a:lnTo>
                    <a:pt x="957" y="603"/>
                  </a:lnTo>
                  <a:lnTo>
                    <a:pt x="959" y="596"/>
                  </a:lnTo>
                  <a:lnTo>
                    <a:pt x="960" y="590"/>
                  </a:lnTo>
                  <a:lnTo>
                    <a:pt x="960" y="583"/>
                  </a:lnTo>
                  <a:lnTo>
                    <a:pt x="958" y="576"/>
                  </a:lnTo>
                  <a:lnTo>
                    <a:pt x="956" y="569"/>
                  </a:lnTo>
                  <a:lnTo>
                    <a:pt x="952" y="564"/>
                  </a:lnTo>
                  <a:lnTo>
                    <a:pt x="947" y="558"/>
                  </a:lnTo>
                  <a:lnTo>
                    <a:pt x="926" y="536"/>
                  </a:lnTo>
                  <a:lnTo>
                    <a:pt x="657" y="291"/>
                  </a:lnTo>
                  <a:lnTo>
                    <a:pt x="657" y="291"/>
                  </a:lnTo>
                  <a:lnTo>
                    <a:pt x="655" y="289"/>
                  </a:lnTo>
                  <a:lnTo>
                    <a:pt x="655" y="287"/>
                  </a:lnTo>
                  <a:lnTo>
                    <a:pt x="653" y="284"/>
                  </a:lnTo>
                  <a:lnTo>
                    <a:pt x="655" y="281"/>
                  </a:lnTo>
                  <a:lnTo>
                    <a:pt x="656" y="279"/>
                  </a:lnTo>
                  <a:lnTo>
                    <a:pt x="658" y="277"/>
                  </a:lnTo>
                  <a:lnTo>
                    <a:pt x="660" y="276"/>
                  </a:lnTo>
                  <a:lnTo>
                    <a:pt x="664" y="276"/>
                  </a:lnTo>
                  <a:lnTo>
                    <a:pt x="664" y="276"/>
                  </a:lnTo>
                  <a:lnTo>
                    <a:pt x="676" y="276"/>
                  </a:lnTo>
                  <a:lnTo>
                    <a:pt x="689" y="275"/>
                  </a:lnTo>
                  <a:lnTo>
                    <a:pt x="700" y="274"/>
                  </a:lnTo>
                  <a:lnTo>
                    <a:pt x="713" y="273"/>
                  </a:lnTo>
                  <a:lnTo>
                    <a:pt x="713" y="273"/>
                  </a:lnTo>
                  <a:lnTo>
                    <a:pt x="717" y="273"/>
                  </a:lnTo>
                  <a:lnTo>
                    <a:pt x="717" y="273"/>
                  </a:lnTo>
                  <a:close/>
                  <a:moveTo>
                    <a:pt x="123" y="501"/>
                  </a:moveTo>
                  <a:lnTo>
                    <a:pt x="123" y="501"/>
                  </a:lnTo>
                  <a:lnTo>
                    <a:pt x="114" y="486"/>
                  </a:lnTo>
                  <a:lnTo>
                    <a:pt x="107" y="471"/>
                  </a:lnTo>
                  <a:lnTo>
                    <a:pt x="101" y="455"/>
                  </a:lnTo>
                  <a:lnTo>
                    <a:pt x="97" y="438"/>
                  </a:lnTo>
                  <a:lnTo>
                    <a:pt x="92" y="421"/>
                  </a:lnTo>
                  <a:lnTo>
                    <a:pt x="90" y="404"/>
                  </a:lnTo>
                  <a:lnTo>
                    <a:pt x="85" y="368"/>
                  </a:lnTo>
                  <a:lnTo>
                    <a:pt x="51" y="336"/>
                  </a:lnTo>
                  <a:lnTo>
                    <a:pt x="51" y="336"/>
                  </a:lnTo>
                  <a:lnTo>
                    <a:pt x="31" y="315"/>
                  </a:lnTo>
                  <a:lnTo>
                    <a:pt x="22" y="305"/>
                  </a:lnTo>
                  <a:lnTo>
                    <a:pt x="16" y="295"/>
                  </a:lnTo>
                  <a:lnTo>
                    <a:pt x="9" y="284"/>
                  </a:lnTo>
                  <a:lnTo>
                    <a:pt x="4" y="272"/>
                  </a:lnTo>
                  <a:lnTo>
                    <a:pt x="1" y="259"/>
                  </a:lnTo>
                  <a:lnTo>
                    <a:pt x="0" y="244"/>
                  </a:lnTo>
                  <a:lnTo>
                    <a:pt x="0" y="244"/>
                  </a:lnTo>
                  <a:lnTo>
                    <a:pt x="1" y="236"/>
                  </a:lnTo>
                  <a:lnTo>
                    <a:pt x="2" y="228"/>
                  </a:lnTo>
                  <a:lnTo>
                    <a:pt x="3" y="220"/>
                  </a:lnTo>
                  <a:lnTo>
                    <a:pt x="6" y="214"/>
                  </a:lnTo>
                  <a:lnTo>
                    <a:pt x="10" y="206"/>
                  </a:lnTo>
                  <a:lnTo>
                    <a:pt x="13" y="199"/>
                  </a:lnTo>
                  <a:lnTo>
                    <a:pt x="18" y="192"/>
                  </a:lnTo>
                  <a:lnTo>
                    <a:pt x="23" y="185"/>
                  </a:lnTo>
                  <a:lnTo>
                    <a:pt x="166" y="31"/>
                  </a:lnTo>
                  <a:lnTo>
                    <a:pt x="166" y="31"/>
                  </a:lnTo>
                  <a:lnTo>
                    <a:pt x="172" y="24"/>
                  </a:lnTo>
                  <a:lnTo>
                    <a:pt x="179" y="20"/>
                  </a:lnTo>
                  <a:lnTo>
                    <a:pt x="186" y="15"/>
                  </a:lnTo>
                  <a:lnTo>
                    <a:pt x="194" y="10"/>
                  </a:lnTo>
                  <a:lnTo>
                    <a:pt x="200" y="7"/>
                  </a:lnTo>
                  <a:lnTo>
                    <a:pt x="208" y="5"/>
                  </a:lnTo>
                  <a:lnTo>
                    <a:pt x="216" y="2"/>
                  </a:lnTo>
                  <a:lnTo>
                    <a:pt x="224" y="1"/>
                  </a:lnTo>
                  <a:lnTo>
                    <a:pt x="232" y="1"/>
                  </a:lnTo>
                  <a:lnTo>
                    <a:pt x="240" y="1"/>
                  </a:lnTo>
                  <a:lnTo>
                    <a:pt x="248" y="2"/>
                  </a:lnTo>
                  <a:lnTo>
                    <a:pt x="256" y="5"/>
                  </a:lnTo>
                  <a:lnTo>
                    <a:pt x="264" y="7"/>
                  </a:lnTo>
                  <a:lnTo>
                    <a:pt x="272" y="10"/>
                  </a:lnTo>
                  <a:lnTo>
                    <a:pt x="279" y="15"/>
                  </a:lnTo>
                  <a:lnTo>
                    <a:pt x="286" y="20"/>
                  </a:lnTo>
                  <a:lnTo>
                    <a:pt x="286" y="20"/>
                  </a:lnTo>
                  <a:lnTo>
                    <a:pt x="301" y="31"/>
                  </a:lnTo>
                  <a:lnTo>
                    <a:pt x="315" y="40"/>
                  </a:lnTo>
                  <a:lnTo>
                    <a:pt x="328" y="49"/>
                  </a:lnTo>
                  <a:lnTo>
                    <a:pt x="346" y="57"/>
                  </a:lnTo>
                  <a:lnTo>
                    <a:pt x="346" y="57"/>
                  </a:lnTo>
                  <a:lnTo>
                    <a:pt x="359" y="62"/>
                  </a:lnTo>
                  <a:lnTo>
                    <a:pt x="366" y="63"/>
                  </a:lnTo>
                  <a:lnTo>
                    <a:pt x="366" y="63"/>
                  </a:lnTo>
                  <a:lnTo>
                    <a:pt x="382" y="59"/>
                  </a:lnTo>
                  <a:lnTo>
                    <a:pt x="398" y="56"/>
                  </a:lnTo>
                  <a:lnTo>
                    <a:pt x="432" y="48"/>
                  </a:lnTo>
                  <a:lnTo>
                    <a:pt x="449" y="45"/>
                  </a:lnTo>
                  <a:lnTo>
                    <a:pt x="467" y="41"/>
                  </a:lnTo>
                  <a:lnTo>
                    <a:pt x="485" y="39"/>
                  </a:lnTo>
                  <a:lnTo>
                    <a:pt x="503" y="39"/>
                  </a:lnTo>
                  <a:lnTo>
                    <a:pt x="503" y="39"/>
                  </a:lnTo>
                  <a:lnTo>
                    <a:pt x="480" y="55"/>
                  </a:lnTo>
                  <a:lnTo>
                    <a:pt x="449" y="79"/>
                  </a:lnTo>
                  <a:lnTo>
                    <a:pt x="408" y="110"/>
                  </a:lnTo>
                  <a:lnTo>
                    <a:pt x="408" y="110"/>
                  </a:lnTo>
                  <a:lnTo>
                    <a:pt x="390" y="114"/>
                  </a:lnTo>
                  <a:lnTo>
                    <a:pt x="373" y="117"/>
                  </a:lnTo>
                  <a:lnTo>
                    <a:pt x="373" y="117"/>
                  </a:lnTo>
                  <a:lnTo>
                    <a:pt x="362" y="117"/>
                  </a:lnTo>
                  <a:lnTo>
                    <a:pt x="350" y="115"/>
                  </a:lnTo>
                  <a:lnTo>
                    <a:pt x="337" y="112"/>
                  </a:lnTo>
                  <a:lnTo>
                    <a:pt x="324" y="107"/>
                  </a:lnTo>
                  <a:lnTo>
                    <a:pt x="311" y="102"/>
                  </a:lnTo>
                  <a:lnTo>
                    <a:pt x="300" y="96"/>
                  </a:lnTo>
                  <a:lnTo>
                    <a:pt x="289" y="89"/>
                  </a:lnTo>
                  <a:lnTo>
                    <a:pt x="280" y="85"/>
                  </a:lnTo>
                  <a:lnTo>
                    <a:pt x="253" y="63"/>
                  </a:lnTo>
                  <a:lnTo>
                    <a:pt x="253" y="63"/>
                  </a:lnTo>
                  <a:lnTo>
                    <a:pt x="247" y="59"/>
                  </a:lnTo>
                  <a:lnTo>
                    <a:pt x="241" y="57"/>
                  </a:lnTo>
                  <a:lnTo>
                    <a:pt x="236" y="56"/>
                  </a:lnTo>
                  <a:lnTo>
                    <a:pt x="229" y="56"/>
                  </a:lnTo>
                  <a:lnTo>
                    <a:pt x="223" y="57"/>
                  </a:lnTo>
                  <a:lnTo>
                    <a:pt x="218" y="59"/>
                  </a:lnTo>
                  <a:lnTo>
                    <a:pt x="212" y="63"/>
                  </a:lnTo>
                  <a:lnTo>
                    <a:pt x="206" y="67"/>
                  </a:lnTo>
                  <a:lnTo>
                    <a:pt x="63" y="222"/>
                  </a:lnTo>
                  <a:lnTo>
                    <a:pt x="63" y="222"/>
                  </a:lnTo>
                  <a:lnTo>
                    <a:pt x="60" y="227"/>
                  </a:lnTo>
                  <a:lnTo>
                    <a:pt x="57" y="233"/>
                  </a:lnTo>
                  <a:lnTo>
                    <a:pt x="55" y="239"/>
                  </a:lnTo>
                  <a:lnTo>
                    <a:pt x="54" y="245"/>
                  </a:lnTo>
                  <a:lnTo>
                    <a:pt x="55" y="251"/>
                  </a:lnTo>
                  <a:lnTo>
                    <a:pt x="57" y="257"/>
                  </a:lnTo>
                  <a:lnTo>
                    <a:pt x="60" y="263"/>
                  </a:lnTo>
                  <a:lnTo>
                    <a:pt x="63" y="268"/>
                  </a:lnTo>
                  <a:lnTo>
                    <a:pt x="63" y="268"/>
                  </a:lnTo>
                  <a:lnTo>
                    <a:pt x="81" y="288"/>
                  </a:lnTo>
                  <a:lnTo>
                    <a:pt x="100" y="307"/>
                  </a:lnTo>
                  <a:lnTo>
                    <a:pt x="100" y="307"/>
                  </a:lnTo>
                  <a:lnTo>
                    <a:pt x="111" y="318"/>
                  </a:lnTo>
                  <a:lnTo>
                    <a:pt x="124" y="332"/>
                  </a:lnTo>
                  <a:lnTo>
                    <a:pt x="130" y="339"/>
                  </a:lnTo>
                  <a:lnTo>
                    <a:pt x="133" y="346"/>
                  </a:lnTo>
                  <a:lnTo>
                    <a:pt x="136" y="353"/>
                  </a:lnTo>
                  <a:lnTo>
                    <a:pt x="139" y="360"/>
                  </a:lnTo>
                  <a:lnTo>
                    <a:pt x="139" y="360"/>
                  </a:lnTo>
                  <a:lnTo>
                    <a:pt x="142" y="387"/>
                  </a:lnTo>
                  <a:lnTo>
                    <a:pt x="147" y="415"/>
                  </a:lnTo>
                  <a:lnTo>
                    <a:pt x="150" y="430"/>
                  </a:lnTo>
                  <a:lnTo>
                    <a:pt x="154" y="443"/>
                  </a:lnTo>
                  <a:lnTo>
                    <a:pt x="159" y="455"/>
                  </a:lnTo>
                  <a:lnTo>
                    <a:pt x="165" y="466"/>
                  </a:lnTo>
                  <a:lnTo>
                    <a:pt x="165" y="466"/>
                  </a:lnTo>
                  <a:lnTo>
                    <a:pt x="152" y="472"/>
                  </a:lnTo>
                  <a:lnTo>
                    <a:pt x="142" y="480"/>
                  </a:lnTo>
                  <a:lnTo>
                    <a:pt x="133" y="490"/>
                  </a:lnTo>
                  <a:lnTo>
                    <a:pt x="123" y="501"/>
                  </a:lnTo>
                  <a:lnTo>
                    <a:pt x="123" y="501"/>
                  </a:lnTo>
                  <a:close/>
                  <a:moveTo>
                    <a:pt x="577" y="771"/>
                  </a:moveTo>
                  <a:lnTo>
                    <a:pt x="577" y="771"/>
                  </a:lnTo>
                  <a:lnTo>
                    <a:pt x="568" y="765"/>
                  </a:lnTo>
                  <a:lnTo>
                    <a:pt x="558" y="760"/>
                  </a:lnTo>
                  <a:lnTo>
                    <a:pt x="547" y="757"/>
                  </a:lnTo>
                  <a:lnTo>
                    <a:pt x="537" y="754"/>
                  </a:lnTo>
                  <a:lnTo>
                    <a:pt x="526" y="754"/>
                  </a:lnTo>
                  <a:lnTo>
                    <a:pt x="515" y="757"/>
                  </a:lnTo>
                  <a:lnTo>
                    <a:pt x="505" y="759"/>
                  </a:lnTo>
                  <a:lnTo>
                    <a:pt x="496" y="765"/>
                  </a:lnTo>
                  <a:lnTo>
                    <a:pt x="496" y="765"/>
                  </a:lnTo>
                  <a:lnTo>
                    <a:pt x="493" y="765"/>
                  </a:lnTo>
                  <a:lnTo>
                    <a:pt x="490" y="763"/>
                  </a:lnTo>
                  <a:lnTo>
                    <a:pt x="490" y="763"/>
                  </a:lnTo>
                  <a:lnTo>
                    <a:pt x="489" y="762"/>
                  </a:lnTo>
                  <a:lnTo>
                    <a:pt x="489" y="759"/>
                  </a:lnTo>
                  <a:lnTo>
                    <a:pt x="489" y="759"/>
                  </a:lnTo>
                  <a:lnTo>
                    <a:pt x="490" y="751"/>
                  </a:lnTo>
                  <a:lnTo>
                    <a:pt x="490" y="742"/>
                  </a:lnTo>
                  <a:lnTo>
                    <a:pt x="488" y="733"/>
                  </a:lnTo>
                  <a:lnTo>
                    <a:pt x="486" y="723"/>
                  </a:lnTo>
                  <a:lnTo>
                    <a:pt x="482" y="716"/>
                  </a:lnTo>
                  <a:lnTo>
                    <a:pt x="478" y="708"/>
                  </a:lnTo>
                  <a:lnTo>
                    <a:pt x="472" y="700"/>
                  </a:lnTo>
                  <a:lnTo>
                    <a:pt x="466" y="694"/>
                  </a:lnTo>
                  <a:lnTo>
                    <a:pt x="466" y="694"/>
                  </a:lnTo>
                  <a:lnTo>
                    <a:pt x="466" y="694"/>
                  </a:lnTo>
                  <a:lnTo>
                    <a:pt x="457" y="687"/>
                  </a:lnTo>
                  <a:lnTo>
                    <a:pt x="447" y="681"/>
                  </a:lnTo>
                  <a:lnTo>
                    <a:pt x="437" y="679"/>
                  </a:lnTo>
                  <a:lnTo>
                    <a:pt x="425" y="677"/>
                  </a:lnTo>
                  <a:lnTo>
                    <a:pt x="415" y="677"/>
                  </a:lnTo>
                  <a:lnTo>
                    <a:pt x="405" y="678"/>
                  </a:lnTo>
                  <a:lnTo>
                    <a:pt x="394" y="681"/>
                  </a:lnTo>
                  <a:lnTo>
                    <a:pt x="384" y="687"/>
                  </a:lnTo>
                  <a:lnTo>
                    <a:pt x="384" y="687"/>
                  </a:lnTo>
                  <a:lnTo>
                    <a:pt x="382" y="687"/>
                  </a:lnTo>
                  <a:lnTo>
                    <a:pt x="380" y="686"/>
                  </a:lnTo>
                  <a:lnTo>
                    <a:pt x="380" y="686"/>
                  </a:lnTo>
                  <a:lnTo>
                    <a:pt x="377" y="685"/>
                  </a:lnTo>
                  <a:lnTo>
                    <a:pt x="377" y="681"/>
                  </a:lnTo>
                  <a:lnTo>
                    <a:pt x="377" y="681"/>
                  </a:lnTo>
                  <a:lnTo>
                    <a:pt x="378" y="672"/>
                  </a:lnTo>
                  <a:lnTo>
                    <a:pt x="378" y="664"/>
                  </a:lnTo>
                  <a:lnTo>
                    <a:pt x="377" y="655"/>
                  </a:lnTo>
                  <a:lnTo>
                    <a:pt x="375" y="646"/>
                  </a:lnTo>
                  <a:lnTo>
                    <a:pt x="372" y="638"/>
                  </a:lnTo>
                  <a:lnTo>
                    <a:pt x="367" y="630"/>
                  </a:lnTo>
                  <a:lnTo>
                    <a:pt x="361" y="622"/>
                  </a:lnTo>
                  <a:lnTo>
                    <a:pt x="354" y="616"/>
                  </a:lnTo>
                  <a:lnTo>
                    <a:pt x="354" y="616"/>
                  </a:lnTo>
                  <a:lnTo>
                    <a:pt x="354" y="616"/>
                  </a:lnTo>
                  <a:lnTo>
                    <a:pt x="348" y="611"/>
                  </a:lnTo>
                  <a:lnTo>
                    <a:pt x="340" y="606"/>
                  </a:lnTo>
                  <a:lnTo>
                    <a:pt x="330" y="603"/>
                  </a:lnTo>
                  <a:lnTo>
                    <a:pt x="323" y="600"/>
                  </a:lnTo>
                  <a:lnTo>
                    <a:pt x="313" y="599"/>
                  </a:lnTo>
                  <a:lnTo>
                    <a:pt x="304" y="599"/>
                  </a:lnTo>
                  <a:lnTo>
                    <a:pt x="295" y="600"/>
                  </a:lnTo>
                  <a:lnTo>
                    <a:pt x="287" y="603"/>
                  </a:lnTo>
                  <a:lnTo>
                    <a:pt x="287" y="603"/>
                  </a:lnTo>
                  <a:lnTo>
                    <a:pt x="285" y="603"/>
                  </a:lnTo>
                  <a:lnTo>
                    <a:pt x="283" y="601"/>
                  </a:lnTo>
                  <a:lnTo>
                    <a:pt x="283" y="601"/>
                  </a:lnTo>
                  <a:lnTo>
                    <a:pt x="281" y="599"/>
                  </a:lnTo>
                  <a:lnTo>
                    <a:pt x="281" y="597"/>
                  </a:lnTo>
                  <a:lnTo>
                    <a:pt x="281" y="597"/>
                  </a:lnTo>
                  <a:lnTo>
                    <a:pt x="285" y="585"/>
                  </a:lnTo>
                  <a:lnTo>
                    <a:pt x="287" y="575"/>
                  </a:lnTo>
                  <a:lnTo>
                    <a:pt x="287" y="564"/>
                  </a:lnTo>
                  <a:lnTo>
                    <a:pt x="286" y="553"/>
                  </a:lnTo>
                  <a:lnTo>
                    <a:pt x="283" y="543"/>
                  </a:lnTo>
                  <a:lnTo>
                    <a:pt x="278" y="533"/>
                  </a:lnTo>
                  <a:lnTo>
                    <a:pt x="271" y="524"/>
                  </a:lnTo>
                  <a:lnTo>
                    <a:pt x="263" y="516"/>
                  </a:lnTo>
                  <a:lnTo>
                    <a:pt x="263" y="516"/>
                  </a:lnTo>
                  <a:lnTo>
                    <a:pt x="263" y="516"/>
                  </a:lnTo>
                  <a:lnTo>
                    <a:pt x="257" y="511"/>
                  </a:lnTo>
                  <a:lnTo>
                    <a:pt x="252" y="508"/>
                  </a:lnTo>
                  <a:lnTo>
                    <a:pt x="245" y="504"/>
                  </a:lnTo>
                  <a:lnTo>
                    <a:pt x="239" y="502"/>
                  </a:lnTo>
                  <a:lnTo>
                    <a:pt x="226" y="499"/>
                  </a:lnTo>
                  <a:lnTo>
                    <a:pt x="212" y="499"/>
                  </a:lnTo>
                  <a:lnTo>
                    <a:pt x="199" y="501"/>
                  </a:lnTo>
                  <a:lnTo>
                    <a:pt x="187" y="506"/>
                  </a:lnTo>
                  <a:lnTo>
                    <a:pt x="181" y="509"/>
                  </a:lnTo>
                  <a:lnTo>
                    <a:pt x="175" y="514"/>
                  </a:lnTo>
                  <a:lnTo>
                    <a:pt x="170" y="518"/>
                  </a:lnTo>
                  <a:lnTo>
                    <a:pt x="165" y="523"/>
                  </a:lnTo>
                  <a:lnTo>
                    <a:pt x="144" y="546"/>
                  </a:lnTo>
                  <a:lnTo>
                    <a:pt x="144" y="546"/>
                  </a:lnTo>
                  <a:lnTo>
                    <a:pt x="140" y="551"/>
                  </a:lnTo>
                  <a:lnTo>
                    <a:pt x="136" y="558"/>
                  </a:lnTo>
                  <a:lnTo>
                    <a:pt x="133" y="564"/>
                  </a:lnTo>
                  <a:lnTo>
                    <a:pt x="131" y="571"/>
                  </a:lnTo>
                  <a:lnTo>
                    <a:pt x="128" y="583"/>
                  </a:lnTo>
                  <a:lnTo>
                    <a:pt x="127" y="597"/>
                  </a:lnTo>
                  <a:lnTo>
                    <a:pt x="130" y="609"/>
                  </a:lnTo>
                  <a:lnTo>
                    <a:pt x="135" y="622"/>
                  </a:lnTo>
                  <a:lnTo>
                    <a:pt x="139" y="629"/>
                  </a:lnTo>
                  <a:lnTo>
                    <a:pt x="142" y="634"/>
                  </a:lnTo>
                  <a:lnTo>
                    <a:pt x="147" y="639"/>
                  </a:lnTo>
                  <a:lnTo>
                    <a:pt x="151" y="645"/>
                  </a:lnTo>
                  <a:lnTo>
                    <a:pt x="151" y="645"/>
                  </a:lnTo>
                  <a:lnTo>
                    <a:pt x="151" y="645"/>
                  </a:lnTo>
                  <a:lnTo>
                    <a:pt x="158" y="649"/>
                  </a:lnTo>
                  <a:lnTo>
                    <a:pt x="166" y="654"/>
                  </a:lnTo>
                  <a:lnTo>
                    <a:pt x="174" y="657"/>
                  </a:lnTo>
                  <a:lnTo>
                    <a:pt x="182" y="660"/>
                  </a:lnTo>
                  <a:lnTo>
                    <a:pt x="190" y="661"/>
                  </a:lnTo>
                  <a:lnTo>
                    <a:pt x="198" y="661"/>
                  </a:lnTo>
                  <a:lnTo>
                    <a:pt x="206" y="661"/>
                  </a:lnTo>
                  <a:lnTo>
                    <a:pt x="214" y="660"/>
                  </a:lnTo>
                  <a:lnTo>
                    <a:pt x="214" y="660"/>
                  </a:lnTo>
                  <a:lnTo>
                    <a:pt x="218" y="660"/>
                  </a:lnTo>
                  <a:lnTo>
                    <a:pt x="220" y="661"/>
                  </a:lnTo>
                  <a:lnTo>
                    <a:pt x="220" y="661"/>
                  </a:lnTo>
                  <a:lnTo>
                    <a:pt x="220" y="664"/>
                  </a:lnTo>
                  <a:lnTo>
                    <a:pt x="219" y="666"/>
                  </a:lnTo>
                  <a:lnTo>
                    <a:pt x="219" y="666"/>
                  </a:lnTo>
                  <a:lnTo>
                    <a:pt x="212" y="678"/>
                  </a:lnTo>
                  <a:lnTo>
                    <a:pt x="207" y="690"/>
                  </a:lnTo>
                  <a:lnTo>
                    <a:pt x="205" y="703"/>
                  </a:lnTo>
                  <a:lnTo>
                    <a:pt x="205" y="716"/>
                  </a:lnTo>
                  <a:lnTo>
                    <a:pt x="207" y="728"/>
                  </a:lnTo>
                  <a:lnTo>
                    <a:pt x="212" y="741"/>
                  </a:lnTo>
                  <a:lnTo>
                    <a:pt x="219" y="752"/>
                  </a:lnTo>
                  <a:lnTo>
                    <a:pt x="229" y="762"/>
                  </a:lnTo>
                  <a:lnTo>
                    <a:pt x="229" y="762"/>
                  </a:lnTo>
                  <a:lnTo>
                    <a:pt x="229" y="762"/>
                  </a:lnTo>
                  <a:lnTo>
                    <a:pt x="239" y="769"/>
                  </a:lnTo>
                  <a:lnTo>
                    <a:pt x="252" y="775"/>
                  </a:lnTo>
                  <a:lnTo>
                    <a:pt x="264" y="778"/>
                  </a:lnTo>
                  <a:lnTo>
                    <a:pt x="277" y="778"/>
                  </a:lnTo>
                  <a:lnTo>
                    <a:pt x="289" y="777"/>
                  </a:lnTo>
                  <a:lnTo>
                    <a:pt x="302" y="773"/>
                  </a:lnTo>
                  <a:lnTo>
                    <a:pt x="313" y="767"/>
                  </a:lnTo>
                  <a:lnTo>
                    <a:pt x="324" y="759"/>
                  </a:lnTo>
                  <a:lnTo>
                    <a:pt x="324" y="759"/>
                  </a:lnTo>
                  <a:lnTo>
                    <a:pt x="326" y="758"/>
                  </a:lnTo>
                  <a:lnTo>
                    <a:pt x="328" y="758"/>
                  </a:lnTo>
                  <a:lnTo>
                    <a:pt x="328" y="758"/>
                  </a:lnTo>
                  <a:lnTo>
                    <a:pt x="330" y="760"/>
                  </a:lnTo>
                  <a:lnTo>
                    <a:pt x="330" y="762"/>
                  </a:lnTo>
                  <a:lnTo>
                    <a:pt x="330" y="762"/>
                  </a:lnTo>
                  <a:lnTo>
                    <a:pt x="330" y="770"/>
                  </a:lnTo>
                  <a:lnTo>
                    <a:pt x="332" y="778"/>
                  </a:lnTo>
                  <a:lnTo>
                    <a:pt x="333" y="787"/>
                  </a:lnTo>
                  <a:lnTo>
                    <a:pt x="335" y="794"/>
                  </a:lnTo>
                  <a:lnTo>
                    <a:pt x="338" y="802"/>
                  </a:lnTo>
                  <a:lnTo>
                    <a:pt x="343" y="809"/>
                  </a:lnTo>
                  <a:lnTo>
                    <a:pt x="349" y="816"/>
                  </a:lnTo>
                  <a:lnTo>
                    <a:pt x="354" y="823"/>
                  </a:lnTo>
                  <a:lnTo>
                    <a:pt x="354" y="823"/>
                  </a:lnTo>
                  <a:lnTo>
                    <a:pt x="354" y="823"/>
                  </a:lnTo>
                  <a:lnTo>
                    <a:pt x="366" y="830"/>
                  </a:lnTo>
                  <a:lnTo>
                    <a:pt x="377" y="835"/>
                  </a:lnTo>
                  <a:lnTo>
                    <a:pt x="390" y="839"/>
                  </a:lnTo>
                  <a:lnTo>
                    <a:pt x="402" y="839"/>
                  </a:lnTo>
                  <a:lnTo>
                    <a:pt x="415" y="838"/>
                  </a:lnTo>
                  <a:lnTo>
                    <a:pt x="428" y="833"/>
                  </a:lnTo>
                  <a:lnTo>
                    <a:pt x="439" y="827"/>
                  </a:lnTo>
                  <a:lnTo>
                    <a:pt x="449" y="819"/>
                  </a:lnTo>
                  <a:lnTo>
                    <a:pt x="449" y="819"/>
                  </a:lnTo>
                  <a:lnTo>
                    <a:pt x="451" y="818"/>
                  </a:lnTo>
                  <a:lnTo>
                    <a:pt x="454" y="818"/>
                  </a:lnTo>
                  <a:lnTo>
                    <a:pt x="454" y="818"/>
                  </a:lnTo>
                  <a:lnTo>
                    <a:pt x="456" y="820"/>
                  </a:lnTo>
                  <a:lnTo>
                    <a:pt x="457" y="823"/>
                  </a:lnTo>
                  <a:lnTo>
                    <a:pt x="457" y="823"/>
                  </a:lnTo>
                  <a:lnTo>
                    <a:pt x="456" y="831"/>
                  </a:lnTo>
                  <a:lnTo>
                    <a:pt x="457" y="839"/>
                  </a:lnTo>
                  <a:lnTo>
                    <a:pt x="458" y="848"/>
                  </a:lnTo>
                  <a:lnTo>
                    <a:pt x="462" y="855"/>
                  </a:lnTo>
                  <a:lnTo>
                    <a:pt x="465" y="863"/>
                  </a:lnTo>
                  <a:lnTo>
                    <a:pt x="469" y="870"/>
                  </a:lnTo>
                  <a:lnTo>
                    <a:pt x="474" y="876"/>
                  </a:lnTo>
                  <a:lnTo>
                    <a:pt x="481" y="883"/>
                  </a:lnTo>
                  <a:lnTo>
                    <a:pt x="481" y="883"/>
                  </a:lnTo>
                  <a:lnTo>
                    <a:pt x="486" y="887"/>
                  </a:lnTo>
                  <a:lnTo>
                    <a:pt x="493" y="891"/>
                  </a:lnTo>
                  <a:lnTo>
                    <a:pt x="498" y="893"/>
                  </a:lnTo>
                  <a:lnTo>
                    <a:pt x="505" y="896"/>
                  </a:lnTo>
                  <a:lnTo>
                    <a:pt x="518" y="899"/>
                  </a:lnTo>
                  <a:lnTo>
                    <a:pt x="531" y="899"/>
                  </a:lnTo>
                  <a:lnTo>
                    <a:pt x="545" y="897"/>
                  </a:lnTo>
                  <a:lnTo>
                    <a:pt x="558" y="892"/>
                  </a:lnTo>
                  <a:lnTo>
                    <a:pt x="563" y="889"/>
                  </a:lnTo>
                  <a:lnTo>
                    <a:pt x="569" y="885"/>
                  </a:lnTo>
                  <a:lnTo>
                    <a:pt x="574" y="881"/>
                  </a:lnTo>
                  <a:lnTo>
                    <a:pt x="579" y="875"/>
                  </a:lnTo>
                  <a:lnTo>
                    <a:pt x="584" y="870"/>
                  </a:lnTo>
                  <a:lnTo>
                    <a:pt x="584" y="870"/>
                  </a:lnTo>
                  <a:lnTo>
                    <a:pt x="588" y="864"/>
                  </a:lnTo>
                  <a:lnTo>
                    <a:pt x="592" y="858"/>
                  </a:lnTo>
                  <a:lnTo>
                    <a:pt x="595" y="851"/>
                  </a:lnTo>
                  <a:lnTo>
                    <a:pt x="598" y="846"/>
                  </a:lnTo>
                  <a:lnTo>
                    <a:pt x="601" y="832"/>
                  </a:lnTo>
                  <a:lnTo>
                    <a:pt x="601" y="819"/>
                  </a:lnTo>
                  <a:lnTo>
                    <a:pt x="599" y="806"/>
                  </a:lnTo>
                  <a:lnTo>
                    <a:pt x="594" y="793"/>
                  </a:lnTo>
                  <a:lnTo>
                    <a:pt x="591" y="787"/>
                  </a:lnTo>
                  <a:lnTo>
                    <a:pt x="586" y="782"/>
                  </a:lnTo>
                  <a:lnTo>
                    <a:pt x="582" y="776"/>
                  </a:lnTo>
                  <a:lnTo>
                    <a:pt x="577" y="771"/>
                  </a:lnTo>
                  <a:lnTo>
                    <a:pt x="577" y="771"/>
                  </a:lnTo>
                  <a:close/>
                  <a:moveTo>
                    <a:pt x="764" y="245"/>
                  </a:moveTo>
                  <a:lnTo>
                    <a:pt x="764" y="245"/>
                  </a:lnTo>
                  <a:lnTo>
                    <a:pt x="947" y="421"/>
                  </a:lnTo>
                  <a:lnTo>
                    <a:pt x="947" y="421"/>
                  </a:lnTo>
                  <a:lnTo>
                    <a:pt x="954" y="426"/>
                  </a:lnTo>
                  <a:lnTo>
                    <a:pt x="960" y="429"/>
                  </a:lnTo>
                  <a:lnTo>
                    <a:pt x="968" y="431"/>
                  </a:lnTo>
                  <a:lnTo>
                    <a:pt x="978" y="430"/>
                  </a:lnTo>
                  <a:lnTo>
                    <a:pt x="978" y="430"/>
                  </a:lnTo>
                  <a:lnTo>
                    <a:pt x="986" y="428"/>
                  </a:lnTo>
                  <a:lnTo>
                    <a:pt x="992" y="425"/>
                  </a:lnTo>
                  <a:lnTo>
                    <a:pt x="999" y="419"/>
                  </a:lnTo>
                  <a:lnTo>
                    <a:pt x="1004" y="412"/>
                  </a:lnTo>
                  <a:lnTo>
                    <a:pt x="1004" y="412"/>
                  </a:lnTo>
                  <a:lnTo>
                    <a:pt x="1014" y="393"/>
                  </a:lnTo>
                  <a:lnTo>
                    <a:pt x="1022" y="372"/>
                  </a:lnTo>
                  <a:lnTo>
                    <a:pt x="1028" y="350"/>
                  </a:lnTo>
                  <a:lnTo>
                    <a:pt x="1034" y="328"/>
                  </a:lnTo>
                  <a:lnTo>
                    <a:pt x="1034" y="328"/>
                  </a:lnTo>
                  <a:lnTo>
                    <a:pt x="1036" y="317"/>
                  </a:lnTo>
                  <a:lnTo>
                    <a:pt x="1039" y="308"/>
                  </a:lnTo>
                  <a:lnTo>
                    <a:pt x="1045" y="300"/>
                  </a:lnTo>
                  <a:lnTo>
                    <a:pt x="1051" y="292"/>
                  </a:lnTo>
                  <a:lnTo>
                    <a:pt x="1083" y="258"/>
                  </a:lnTo>
                  <a:lnTo>
                    <a:pt x="1083" y="258"/>
                  </a:lnTo>
                  <a:lnTo>
                    <a:pt x="1092" y="248"/>
                  </a:lnTo>
                  <a:lnTo>
                    <a:pt x="1097" y="236"/>
                  </a:lnTo>
                  <a:lnTo>
                    <a:pt x="1101" y="224"/>
                  </a:lnTo>
                  <a:lnTo>
                    <a:pt x="1102" y="211"/>
                  </a:lnTo>
                  <a:lnTo>
                    <a:pt x="1101" y="200"/>
                  </a:lnTo>
                  <a:lnTo>
                    <a:pt x="1097" y="187"/>
                  </a:lnTo>
                  <a:lnTo>
                    <a:pt x="1092" y="176"/>
                  </a:lnTo>
                  <a:lnTo>
                    <a:pt x="1084" y="166"/>
                  </a:lnTo>
                  <a:lnTo>
                    <a:pt x="952" y="22"/>
                  </a:lnTo>
                  <a:lnTo>
                    <a:pt x="952" y="22"/>
                  </a:lnTo>
                  <a:lnTo>
                    <a:pt x="942" y="13"/>
                  </a:lnTo>
                  <a:lnTo>
                    <a:pt x="932" y="7"/>
                  </a:lnTo>
                  <a:lnTo>
                    <a:pt x="919" y="2"/>
                  </a:lnTo>
                  <a:lnTo>
                    <a:pt x="907" y="0"/>
                  </a:lnTo>
                  <a:lnTo>
                    <a:pt x="894" y="0"/>
                  </a:lnTo>
                  <a:lnTo>
                    <a:pt x="882" y="2"/>
                  </a:lnTo>
                  <a:lnTo>
                    <a:pt x="870" y="7"/>
                  </a:lnTo>
                  <a:lnTo>
                    <a:pt x="859" y="15"/>
                  </a:lnTo>
                  <a:lnTo>
                    <a:pt x="828" y="40"/>
                  </a:lnTo>
                  <a:lnTo>
                    <a:pt x="828" y="40"/>
                  </a:lnTo>
                  <a:lnTo>
                    <a:pt x="817" y="47"/>
                  </a:lnTo>
                  <a:lnTo>
                    <a:pt x="810" y="50"/>
                  </a:lnTo>
                  <a:lnTo>
                    <a:pt x="804" y="53"/>
                  </a:lnTo>
                  <a:lnTo>
                    <a:pt x="797" y="54"/>
                  </a:lnTo>
                  <a:lnTo>
                    <a:pt x="790" y="55"/>
                  </a:lnTo>
                  <a:lnTo>
                    <a:pt x="777" y="55"/>
                  </a:lnTo>
                  <a:lnTo>
                    <a:pt x="777" y="55"/>
                  </a:lnTo>
                  <a:lnTo>
                    <a:pt x="679" y="42"/>
                  </a:lnTo>
                  <a:lnTo>
                    <a:pt x="679" y="42"/>
                  </a:lnTo>
                  <a:lnTo>
                    <a:pt x="657" y="41"/>
                  </a:lnTo>
                  <a:lnTo>
                    <a:pt x="634" y="41"/>
                  </a:lnTo>
                  <a:lnTo>
                    <a:pt x="612" y="44"/>
                  </a:lnTo>
                  <a:lnTo>
                    <a:pt x="592" y="48"/>
                  </a:lnTo>
                  <a:lnTo>
                    <a:pt x="571" y="55"/>
                  </a:lnTo>
                  <a:lnTo>
                    <a:pt x="551" y="64"/>
                  </a:lnTo>
                  <a:lnTo>
                    <a:pt x="531" y="74"/>
                  </a:lnTo>
                  <a:lnTo>
                    <a:pt x="513" y="88"/>
                  </a:lnTo>
                  <a:lnTo>
                    <a:pt x="513" y="88"/>
                  </a:lnTo>
                  <a:lnTo>
                    <a:pt x="416" y="162"/>
                  </a:lnTo>
                  <a:lnTo>
                    <a:pt x="319" y="237"/>
                  </a:lnTo>
                  <a:lnTo>
                    <a:pt x="319" y="237"/>
                  </a:lnTo>
                  <a:lnTo>
                    <a:pt x="309" y="247"/>
                  </a:lnTo>
                  <a:lnTo>
                    <a:pt x="302" y="257"/>
                  </a:lnTo>
                  <a:lnTo>
                    <a:pt x="297" y="267"/>
                  </a:lnTo>
                  <a:lnTo>
                    <a:pt x="296" y="276"/>
                  </a:lnTo>
                  <a:lnTo>
                    <a:pt x="297" y="287"/>
                  </a:lnTo>
                  <a:lnTo>
                    <a:pt x="301" y="296"/>
                  </a:lnTo>
                  <a:lnTo>
                    <a:pt x="307" y="304"/>
                  </a:lnTo>
                  <a:lnTo>
                    <a:pt x="313" y="310"/>
                  </a:lnTo>
                  <a:lnTo>
                    <a:pt x="321" y="316"/>
                  </a:lnTo>
                  <a:lnTo>
                    <a:pt x="332" y="322"/>
                  </a:lnTo>
                  <a:lnTo>
                    <a:pt x="343" y="324"/>
                  </a:lnTo>
                  <a:lnTo>
                    <a:pt x="356" y="326"/>
                  </a:lnTo>
                  <a:lnTo>
                    <a:pt x="369" y="325"/>
                  </a:lnTo>
                  <a:lnTo>
                    <a:pt x="383" y="323"/>
                  </a:lnTo>
                  <a:lnTo>
                    <a:pt x="397" y="318"/>
                  </a:lnTo>
                  <a:lnTo>
                    <a:pt x="412" y="310"/>
                  </a:lnTo>
                  <a:lnTo>
                    <a:pt x="552" y="224"/>
                  </a:lnTo>
                  <a:lnTo>
                    <a:pt x="552" y="224"/>
                  </a:lnTo>
                  <a:lnTo>
                    <a:pt x="560" y="219"/>
                  </a:lnTo>
                  <a:lnTo>
                    <a:pt x="568" y="216"/>
                  </a:lnTo>
                  <a:lnTo>
                    <a:pt x="576" y="215"/>
                  </a:lnTo>
                  <a:lnTo>
                    <a:pt x="584" y="214"/>
                  </a:lnTo>
                  <a:lnTo>
                    <a:pt x="592" y="214"/>
                  </a:lnTo>
                  <a:lnTo>
                    <a:pt x="600" y="214"/>
                  </a:lnTo>
                  <a:lnTo>
                    <a:pt x="608" y="216"/>
                  </a:lnTo>
                  <a:lnTo>
                    <a:pt x="616" y="219"/>
                  </a:lnTo>
                  <a:lnTo>
                    <a:pt x="616" y="219"/>
                  </a:lnTo>
                  <a:lnTo>
                    <a:pt x="626" y="223"/>
                  </a:lnTo>
                  <a:lnTo>
                    <a:pt x="638" y="226"/>
                  </a:lnTo>
                  <a:lnTo>
                    <a:pt x="649" y="228"/>
                  </a:lnTo>
                  <a:lnTo>
                    <a:pt x="660" y="229"/>
                  </a:lnTo>
                  <a:lnTo>
                    <a:pt x="672" y="231"/>
                  </a:lnTo>
                  <a:lnTo>
                    <a:pt x="683" y="231"/>
                  </a:lnTo>
                  <a:lnTo>
                    <a:pt x="695" y="229"/>
                  </a:lnTo>
                  <a:lnTo>
                    <a:pt x="705" y="228"/>
                  </a:lnTo>
                  <a:lnTo>
                    <a:pt x="705" y="228"/>
                  </a:lnTo>
                  <a:lnTo>
                    <a:pt x="713" y="227"/>
                  </a:lnTo>
                  <a:lnTo>
                    <a:pt x="721" y="227"/>
                  </a:lnTo>
                  <a:lnTo>
                    <a:pt x="729" y="227"/>
                  </a:lnTo>
                  <a:lnTo>
                    <a:pt x="737" y="229"/>
                  </a:lnTo>
                  <a:lnTo>
                    <a:pt x="744" y="232"/>
                  </a:lnTo>
                  <a:lnTo>
                    <a:pt x="750" y="236"/>
                  </a:lnTo>
                  <a:lnTo>
                    <a:pt x="757" y="241"/>
                  </a:lnTo>
                  <a:lnTo>
                    <a:pt x="764" y="245"/>
                  </a:lnTo>
                  <a:lnTo>
                    <a:pt x="764"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FZSJ-YANGGNH" panose="02010600010101010101" pitchFamily="2" charset="-122"/>
              </a:endParaRPr>
            </a:p>
          </p:txBody>
        </p:sp>
      </p:grpSp>
    </p:spTree>
    <p:extLst>
      <p:ext uri="{BB962C8B-B14F-4D97-AF65-F5344CB8AC3E}">
        <p14:creationId xmlns:p14="http://schemas.microsoft.com/office/powerpoint/2010/main" val="274169405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 calcmode="lin" valueType="num">
                                      <p:cBhvr additive="base">
                                        <p:cTn id="11" dur="500" fill="hold"/>
                                        <p:tgtEl>
                                          <p:spTgt spid="80"/>
                                        </p:tgtEl>
                                        <p:attrNameLst>
                                          <p:attrName>ppt_x</p:attrName>
                                        </p:attrNameLst>
                                      </p:cBhvr>
                                      <p:tavLst>
                                        <p:tav tm="0">
                                          <p:val>
                                            <p:strVal val="0-#ppt_w/2"/>
                                          </p:val>
                                        </p:tav>
                                        <p:tav tm="100000">
                                          <p:val>
                                            <p:strVal val="#ppt_x"/>
                                          </p:val>
                                        </p:tav>
                                      </p:tavLst>
                                    </p:anim>
                                    <p:anim calcmode="lin" valueType="num">
                                      <p:cBhvr additive="base">
                                        <p:cTn id="12" dur="500" fill="hold"/>
                                        <p:tgtEl>
                                          <p:spTgt spid="8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4"/>
                                        </p:tgtEl>
                                        <p:attrNameLst>
                                          <p:attrName>style.visibility</p:attrName>
                                        </p:attrNameLst>
                                      </p:cBhvr>
                                      <p:to>
                                        <p:strVal val="visible"/>
                                      </p:to>
                                    </p:set>
                                    <p:anim calcmode="lin" valueType="num">
                                      <p:cBhvr additive="base">
                                        <p:cTn id="25" dur="500" fill="hold"/>
                                        <p:tgtEl>
                                          <p:spTgt spid="74"/>
                                        </p:tgtEl>
                                        <p:attrNameLst>
                                          <p:attrName>ppt_x</p:attrName>
                                        </p:attrNameLst>
                                      </p:cBhvr>
                                      <p:tavLst>
                                        <p:tav tm="0">
                                          <p:val>
                                            <p:strVal val="0-#ppt_w/2"/>
                                          </p:val>
                                        </p:tav>
                                        <p:tav tm="100000">
                                          <p:val>
                                            <p:strVal val="#ppt_x"/>
                                          </p:val>
                                        </p:tav>
                                      </p:tavLst>
                                    </p:anim>
                                    <p:anim calcmode="lin" valueType="num">
                                      <p:cBhvr additive="base">
                                        <p:cTn id="26" dur="500" fill="hold"/>
                                        <p:tgtEl>
                                          <p:spTgt spid="7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 calcmode="lin" valueType="num">
                                      <p:cBhvr additive="base">
                                        <p:cTn id="29" dur="500" fill="hold"/>
                                        <p:tgtEl>
                                          <p:spTgt spid="81"/>
                                        </p:tgtEl>
                                        <p:attrNameLst>
                                          <p:attrName>ppt_x</p:attrName>
                                        </p:attrNameLst>
                                      </p:cBhvr>
                                      <p:tavLst>
                                        <p:tav tm="0">
                                          <p:val>
                                            <p:strVal val="0-#ppt_w/2"/>
                                          </p:val>
                                        </p:tav>
                                        <p:tav tm="100000">
                                          <p:val>
                                            <p:strVal val="#ppt_x"/>
                                          </p:val>
                                        </p:tav>
                                      </p:tavLst>
                                    </p:anim>
                                    <p:anim calcmode="lin" valueType="num">
                                      <p:cBhvr additive="base">
                                        <p:cTn id="30" dur="500" fill="hold"/>
                                        <p:tgtEl>
                                          <p:spTgt spid="81"/>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85"/>
                                        </p:tgtEl>
                                        <p:attrNameLst>
                                          <p:attrName>style.visibility</p:attrName>
                                        </p:attrNameLst>
                                      </p:cBhvr>
                                      <p:to>
                                        <p:strVal val="visible"/>
                                      </p:to>
                                    </p:set>
                                    <p:anim calcmode="lin" valueType="num">
                                      <p:cBhvr additive="base">
                                        <p:cTn id="33" dur="500" fill="hold"/>
                                        <p:tgtEl>
                                          <p:spTgt spid="85"/>
                                        </p:tgtEl>
                                        <p:attrNameLst>
                                          <p:attrName>ppt_x</p:attrName>
                                        </p:attrNameLst>
                                      </p:cBhvr>
                                      <p:tavLst>
                                        <p:tav tm="0">
                                          <p:val>
                                            <p:strVal val="0-#ppt_w/2"/>
                                          </p:val>
                                        </p:tav>
                                        <p:tav tm="100000">
                                          <p:val>
                                            <p:strVal val="#ppt_x"/>
                                          </p:val>
                                        </p:tav>
                                      </p:tavLst>
                                    </p:anim>
                                    <p:anim calcmode="lin" valueType="num">
                                      <p:cBhvr additive="base">
                                        <p:cTn id="34" dur="500" fill="hold"/>
                                        <p:tgtEl>
                                          <p:spTgt spid="85"/>
                                        </p:tgtEl>
                                        <p:attrNameLst>
                                          <p:attrName>ppt_y</p:attrName>
                                        </p:attrNameLst>
                                      </p:cBhvr>
                                      <p:tavLst>
                                        <p:tav tm="0">
                                          <p:val>
                                            <p:strVal val="#ppt_y"/>
                                          </p:val>
                                        </p:tav>
                                        <p:tav tm="100000">
                                          <p:val>
                                            <p:strVal val="#ppt_y"/>
                                          </p:val>
                                        </p:tav>
                                      </p:tavLst>
                                    </p:anim>
                                  </p:childTnLst>
                                </p:cTn>
                              </p:par>
                              <p:par>
                                <p:cTn id="35" presetID="2" presetClass="entr" presetSubtype="8"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anim calcmode="lin" valueType="num">
                                      <p:cBhvr additive="base">
                                        <p:cTn id="37" dur="500" fill="hold"/>
                                        <p:tgtEl>
                                          <p:spTgt spid="91"/>
                                        </p:tgtEl>
                                        <p:attrNameLst>
                                          <p:attrName>ppt_x</p:attrName>
                                        </p:attrNameLst>
                                      </p:cBhvr>
                                      <p:tavLst>
                                        <p:tav tm="0">
                                          <p:val>
                                            <p:strVal val="0-#ppt_w/2"/>
                                          </p:val>
                                        </p:tav>
                                        <p:tav tm="100000">
                                          <p:val>
                                            <p:strVal val="#ppt_x"/>
                                          </p:val>
                                        </p:tav>
                                      </p:tavLst>
                                    </p:anim>
                                    <p:anim calcmode="lin" valueType="num">
                                      <p:cBhvr additive="base">
                                        <p:cTn id="38" dur="500" fill="hold"/>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0" grpId="0">
        <p:bldAsOne/>
      </p:bldGraphic>
      <p:bldGraphic spid="81"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FZSJ-YANGGNH" panose="02010600010101010101" pitchFamily="2" charset="-122"/>
                <a:ea typeface="FZSJ-YANGGNH" panose="02010600010101010101" pitchFamily="2" charset="-122"/>
              </a:rPr>
              <a:t>标题内容</a:t>
            </a:r>
            <a:endParaRPr lang="en-US" altLang="zh-CN" sz="2800" dirty="0">
              <a:solidFill>
                <a:schemeClr val="bg1"/>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22"/>
          <p:cNvSpPr>
            <a:spLocks noChangeArrowheads="1"/>
          </p:cNvSpPr>
          <p:nvPr/>
        </p:nvSpPr>
        <p:spPr bwMode="auto">
          <a:xfrm>
            <a:off x="3571798" y="1212317"/>
            <a:ext cx="1024952" cy="1024292"/>
          </a:xfrm>
          <a:prstGeom prst="ellipse">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solidFill>
                  <a:schemeClr val="accent2"/>
                </a:solidFill>
                <a:latin typeface="FZSJ-YANGGNH" panose="02010600010101010101" pitchFamily="2" charset="-122"/>
                <a:ea typeface="FZSJ-YANGGNH" panose="02010600010101010101" pitchFamily="2" charset="-122"/>
              </a:rPr>
              <a:t>标题文字</a:t>
            </a:r>
          </a:p>
        </p:txBody>
      </p:sp>
      <p:sp>
        <p:nvSpPr>
          <p:cNvPr id="9" name="Line 23"/>
          <p:cNvSpPr>
            <a:spLocks noChangeShapeType="1"/>
          </p:cNvSpPr>
          <p:nvPr/>
        </p:nvSpPr>
        <p:spPr bwMode="auto">
          <a:xfrm flipH="1">
            <a:off x="1083762" y="1725759"/>
            <a:ext cx="2488036" cy="0"/>
          </a:xfrm>
          <a:prstGeom prst="line">
            <a:avLst/>
          </a:prstGeom>
          <a:noFill/>
          <a:ln w="5" cap="flat">
            <a:solidFill>
              <a:schemeClr val="accent3"/>
            </a:solidFill>
            <a:prstDash val="dash"/>
            <a:miter lim="800000"/>
            <a:headEnd type="none" w="med" len="med"/>
            <a:tailEnd type="arrow" w="med" len="med"/>
          </a:ln>
          <a:extLst>
            <a:ext uri="{909E8E84-426E-40DD-AFC4-6F175D3DCCD1}">
              <a14:hiddenFill xmlns:a14="http://schemas.microsoft.com/office/drawing/2010/main">
                <a:noFill/>
              </a14:hiddenFill>
            </a:ext>
          </a:extLst>
        </p:spPr>
        <p:txBody>
          <a:bodyPr vert="horz" wrap="square" lIns="75493" tIns="37746" rIns="75493" bIns="37746" numCol="1" anchor="t" anchorCtr="0" compatLnSpc="1">
            <a:prstTxWarp prst="textNoShape">
              <a:avLst/>
            </a:prstTxWarp>
          </a:bodyPr>
          <a:lstStyle/>
          <a:p>
            <a:endParaRPr lang="zh-CN" altLang="en-US">
              <a:latin typeface="FZSJ-YANGGNH" panose="02010600010101010101" pitchFamily="2" charset="-122"/>
              <a:ea typeface="FZSJ-YANGGNH" panose="02010600010101010101" pitchFamily="2" charset="-122"/>
            </a:endParaRPr>
          </a:p>
        </p:txBody>
      </p:sp>
      <p:sp>
        <p:nvSpPr>
          <p:cNvPr id="10" name="Freeform 27"/>
          <p:cNvSpPr>
            <a:spLocks/>
          </p:cNvSpPr>
          <p:nvPr/>
        </p:nvSpPr>
        <p:spPr bwMode="auto">
          <a:xfrm>
            <a:off x="2905838" y="1806147"/>
            <a:ext cx="1370938" cy="1164321"/>
          </a:xfrm>
          <a:custGeom>
            <a:avLst/>
            <a:gdLst>
              <a:gd name="T0" fmla="*/ 172 w 223"/>
              <a:gd name="T1" fmla="*/ 172 h 190"/>
              <a:gd name="T2" fmla="*/ 50 w 223"/>
              <a:gd name="T3" fmla="*/ 122 h 190"/>
              <a:gd name="T4" fmla="*/ 0 w 223"/>
              <a:gd name="T5" fmla="*/ 0 h 190"/>
              <a:gd name="T6" fmla="*/ 22 w 223"/>
              <a:gd name="T7" fmla="*/ 0 h 190"/>
              <a:gd name="T8" fmla="*/ 66 w 223"/>
              <a:gd name="T9" fmla="*/ 106 h 190"/>
              <a:gd name="T10" fmla="*/ 172 w 223"/>
              <a:gd name="T11" fmla="*/ 150 h 190"/>
              <a:gd name="T12" fmla="*/ 172 w 223"/>
              <a:gd name="T13" fmla="*/ 132 h 190"/>
              <a:gd name="T14" fmla="*/ 223 w 223"/>
              <a:gd name="T15" fmla="*/ 163 h 190"/>
              <a:gd name="T16" fmla="*/ 172 w 223"/>
              <a:gd name="T17" fmla="*/ 190 h 190"/>
              <a:gd name="T18" fmla="*/ 172 w 223"/>
              <a:gd name="T19" fmla="*/ 1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190">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
        <p:nvSpPr>
          <p:cNvPr id="11" name="Freeform 28"/>
          <p:cNvSpPr>
            <a:spLocks/>
          </p:cNvSpPr>
          <p:nvPr/>
        </p:nvSpPr>
        <p:spPr bwMode="auto">
          <a:xfrm>
            <a:off x="2211265" y="1806147"/>
            <a:ext cx="2065512" cy="1856690"/>
          </a:xfrm>
          <a:custGeom>
            <a:avLst/>
            <a:gdLst>
              <a:gd name="T0" fmla="*/ 285 w 336"/>
              <a:gd name="T1" fmla="*/ 285 h 303"/>
              <a:gd name="T2" fmla="*/ 84 w 336"/>
              <a:gd name="T3" fmla="*/ 202 h 303"/>
              <a:gd name="T4" fmla="*/ 0 w 336"/>
              <a:gd name="T5" fmla="*/ 0 h 303"/>
              <a:gd name="T6" fmla="*/ 23 w 336"/>
              <a:gd name="T7" fmla="*/ 0 h 303"/>
              <a:gd name="T8" fmla="*/ 100 w 336"/>
              <a:gd name="T9" fmla="*/ 186 h 303"/>
              <a:gd name="T10" fmla="*/ 285 w 336"/>
              <a:gd name="T11" fmla="*/ 262 h 303"/>
              <a:gd name="T12" fmla="*/ 285 w 336"/>
              <a:gd name="T13" fmla="*/ 245 h 303"/>
              <a:gd name="T14" fmla="*/ 336 w 336"/>
              <a:gd name="T15" fmla="*/ 275 h 303"/>
              <a:gd name="T16" fmla="*/ 285 w 336"/>
              <a:gd name="T17" fmla="*/ 303 h 303"/>
              <a:gd name="T18" fmla="*/ 285 w 336"/>
              <a:gd name="T19" fmla="*/ 28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03">
                <a:moveTo>
                  <a:pt x="285" y="285"/>
                </a:moveTo>
                <a:cubicBezTo>
                  <a:pt x="206" y="285"/>
                  <a:pt x="135" y="253"/>
                  <a:pt x="84" y="202"/>
                </a:cubicBezTo>
                <a:cubicBezTo>
                  <a:pt x="32" y="150"/>
                  <a:pt x="0" y="79"/>
                  <a:pt x="0" y="0"/>
                </a:cubicBezTo>
                <a:cubicBezTo>
                  <a:pt x="23" y="0"/>
                  <a:pt x="23" y="0"/>
                  <a:pt x="23" y="0"/>
                </a:cubicBezTo>
                <a:cubicBezTo>
                  <a:pt x="23" y="72"/>
                  <a:pt x="52" y="138"/>
                  <a:pt x="100" y="186"/>
                </a:cubicBezTo>
                <a:cubicBezTo>
                  <a:pt x="147" y="233"/>
                  <a:pt x="213" y="262"/>
                  <a:pt x="285" y="262"/>
                </a:cubicBezTo>
                <a:cubicBezTo>
                  <a:pt x="285" y="245"/>
                  <a:pt x="285" y="245"/>
                  <a:pt x="285" y="245"/>
                </a:cubicBezTo>
                <a:cubicBezTo>
                  <a:pt x="336" y="275"/>
                  <a:pt x="336" y="275"/>
                  <a:pt x="336" y="275"/>
                </a:cubicBezTo>
                <a:cubicBezTo>
                  <a:pt x="285" y="303"/>
                  <a:pt x="285" y="303"/>
                  <a:pt x="285" y="303"/>
                </a:cubicBezTo>
                <a:lnTo>
                  <a:pt x="285" y="285"/>
                </a:ln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
        <p:nvSpPr>
          <p:cNvPr id="12" name="Freeform 29"/>
          <p:cNvSpPr>
            <a:spLocks/>
          </p:cNvSpPr>
          <p:nvPr/>
        </p:nvSpPr>
        <p:spPr bwMode="auto">
          <a:xfrm>
            <a:off x="1533378" y="1779721"/>
            <a:ext cx="2739275" cy="2530907"/>
          </a:xfrm>
          <a:custGeom>
            <a:avLst/>
            <a:gdLst>
              <a:gd name="T0" fmla="*/ 395 w 446"/>
              <a:gd name="T1" fmla="*/ 395 h 413"/>
              <a:gd name="T2" fmla="*/ 116 w 446"/>
              <a:gd name="T3" fmla="*/ 279 h 413"/>
              <a:gd name="T4" fmla="*/ 0 w 446"/>
              <a:gd name="T5" fmla="*/ 0 h 413"/>
              <a:gd name="T6" fmla="*/ 23 w 446"/>
              <a:gd name="T7" fmla="*/ 0 h 413"/>
              <a:gd name="T8" fmla="*/ 132 w 446"/>
              <a:gd name="T9" fmla="*/ 263 h 413"/>
              <a:gd name="T10" fmla="*/ 395 w 446"/>
              <a:gd name="T11" fmla="*/ 373 h 413"/>
              <a:gd name="T12" fmla="*/ 395 w 446"/>
              <a:gd name="T13" fmla="*/ 355 h 413"/>
              <a:gd name="T14" fmla="*/ 446 w 446"/>
              <a:gd name="T15" fmla="*/ 385 h 413"/>
              <a:gd name="T16" fmla="*/ 395 w 446"/>
              <a:gd name="T17" fmla="*/ 413 h 413"/>
              <a:gd name="T18" fmla="*/ 395 w 446"/>
              <a:gd name="T19" fmla="*/ 39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13">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
        <p:nvSpPr>
          <p:cNvPr id="13" name="矩形 12"/>
          <p:cNvSpPr/>
          <p:nvPr/>
        </p:nvSpPr>
        <p:spPr>
          <a:xfrm>
            <a:off x="4392167" y="2645065"/>
            <a:ext cx="4572000" cy="400110"/>
          </a:xfrm>
          <a:prstGeom prst="rect">
            <a:avLst/>
          </a:prstGeom>
          <a:ln>
            <a:noFill/>
          </a:ln>
        </p:spPr>
        <p:txBody>
          <a:bodyPr>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单击</a:t>
            </a:r>
            <a:r>
              <a:rPr lang="zh-CN" altLang="en-US" sz="1000" dirty="0">
                <a:solidFill>
                  <a:schemeClr val="accent1"/>
                </a:solidFill>
                <a:latin typeface="FZSJ-YANGGNH" panose="02010600010101010101" pitchFamily="2" charset="-122"/>
                <a:ea typeface="FZSJ-YANGGNH" panose="02010600010101010101" pitchFamily="2" charset="-122"/>
              </a:rPr>
              <a:t>此处添加文本单击此处添加</a:t>
            </a:r>
            <a:endParaRPr lang="en-US" altLang="zh-CN" sz="1000" dirty="0">
              <a:solidFill>
                <a:schemeClr val="accent1"/>
              </a:solidFill>
              <a:latin typeface="FZSJ-YANGGNH" panose="02010600010101010101" pitchFamily="2" charset="-122"/>
              <a:ea typeface="FZSJ-YANGGNH" panose="02010600010101010101" pitchFamily="2" charset="-122"/>
            </a:endParaRPr>
          </a:p>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endParaRPr lang="en-US" altLang="zh-CN" sz="1000" dirty="0">
              <a:solidFill>
                <a:schemeClr val="accent1"/>
              </a:solidFill>
              <a:latin typeface="FZSJ-YANGGNH" panose="02010600010101010101" pitchFamily="2" charset="-122"/>
              <a:ea typeface="FZSJ-YANGGNH" panose="02010600010101010101" pitchFamily="2" charset="-122"/>
            </a:endParaRPr>
          </a:p>
        </p:txBody>
      </p:sp>
      <p:sp>
        <p:nvSpPr>
          <p:cNvPr id="14" name="矩形 13"/>
          <p:cNvSpPr/>
          <p:nvPr/>
        </p:nvSpPr>
        <p:spPr>
          <a:xfrm>
            <a:off x="4435449" y="3262727"/>
            <a:ext cx="4572000" cy="400110"/>
          </a:xfrm>
          <a:prstGeom prst="rect">
            <a:avLst/>
          </a:prstGeom>
          <a:ln>
            <a:noFill/>
          </a:ln>
        </p:spPr>
        <p:txBody>
          <a:bodyPr>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单击</a:t>
            </a:r>
            <a:r>
              <a:rPr lang="zh-CN" altLang="en-US" sz="1000" dirty="0">
                <a:solidFill>
                  <a:schemeClr val="accent1"/>
                </a:solidFill>
                <a:latin typeface="FZSJ-YANGGNH" panose="02010600010101010101" pitchFamily="2" charset="-122"/>
                <a:ea typeface="FZSJ-YANGGNH" panose="02010600010101010101" pitchFamily="2" charset="-122"/>
              </a:rPr>
              <a:t>此处添加文本单击此处添加</a:t>
            </a:r>
            <a:endParaRPr lang="en-US" altLang="zh-CN" sz="1000" dirty="0">
              <a:solidFill>
                <a:schemeClr val="accent1"/>
              </a:solidFill>
              <a:latin typeface="FZSJ-YANGGNH" panose="02010600010101010101" pitchFamily="2" charset="-122"/>
              <a:ea typeface="FZSJ-YANGGNH" panose="02010600010101010101" pitchFamily="2" charset="-122"/>
            </a:endParaRPr>
          </a:p>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endParaRPr lang="en-US" altLang="zh-CN" sz="1000" dirty="0">
              <a:solidFill>
                <a:schemeClr val="accent1"/>
              </a:solidFill>
              <a:latin typeface="FZSJ-YANGGNH" panose="02010600010101010101" pitchFamily="2" charset="-122"/>
              <a:ea typeface="FZSJ-YANGGNH" panose="02010600010101010101" pitchFamily="2" charset="-122"/>
            </a:endParaRPr>
          </a:p>
        </p:txBody>
      </p:sp>
      <p:sp>
        <p:nvSpPr>
          <p:cNvPr id="15" name="矩形 14"/>
          <p:cNvSpPr/>
          <p:nvPr/>
        </p:nvSpPr>
        <p:spPr>
          <a:xfrm>
            <a:off x="4435449" y="3969438"/>
            <a:ext cx="4572000" cy="400110"/>
          </a:xfrm>
          <a:prstGeom prst="rect">
            <a:avLst/>
          </a:prstGeom>
          <a:ln>
            <a:noFill/>
          </a:ln>
        </p:spPr>
        <p:txBody>
          <a:bodyPr>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单击</a:t>
            </a:r>
            <a:r>
              <a:rPr lang="zh-CN" altLang="en-US" sz="1000" dirty="0">
                <a:solidFill>
                  <a:schemeClr val="accent1"/>
                </a:solidFill>
                <a:latin typeface="FZSJ-YANGGNH" panose="02010600010101010101" pitchFamily="2" charset="-122"/>
                <a:ea typeface="FZSJ-YANGGNH" panose="02010600010101010101" pitchFamily="2" charset="-122"/>
              </a:rPr>
              <a:t>此处添加文本单击此处添加</a:t>
            </a:r>
            <a:endParaRPr lang="en-US" altLang="zh-CN" sz="1000" dirty="0">
              <a:solidFill>
                <a:schemeClr val="accent1"/>
              </a:solidFill>
              <a:latin typeface="FZSJ-YANGGNH" panose="02010600010101010101" pitchFamily="2" charset="-122"/>
              <a:ea typeface="FZSJ-YANGGNH" panose="02010600010101010101" pitchFamily="2" charset="-122"/>
            </a:endParaRPr>
          </a:p>
          <a:p>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r>
              <a:rPr lang="zh-CN" altLang="en-US" sz="1000" dirty="0">
                <a:solidFill>
                  <a:schemeClr val="accent1"/>
                </a:solidFill>
                <a:latin typeface="FZSJ-YANGGNH" panose="02010600010101010101" pitchFamily="2" charset="-122"/>
                <a:ea typeface="FZSJ-YANGGNH" panose="02010600010101010101" pitchFamily="2" charset="-122"/>
              </a:rPr>
              <a:t>单击此处添加文本单击此处</a:t>
            </a:r>
            <a:r>
              <a:rPr lang="zh-CN" altLang="en-US" sz="1000" dirty="0" smtClean="0">
                <a:solidFill>
                  <a:schemeClr val="accent1"/>
                </a:solidFill>
                <a:latin typeface="FZSJ-YANGGNH" panose="02010600010101010101" pitchFamily="2" charset="-122"/>
                <a:ea typeface="FZSJ-YANGGNH" panose="02010600010101010101" pitchFamily="2" charset="-122"/>
              </a:rPr>
              <a:t>添加</a:t>
            </a:r>
            <a:endParaRPr lang="en-US" altLang="zh-CN" sz="1000" dirty="0">
              <a:solidFill>
                <a:schemeClr val="accent1"/>
              </a:solidFill>
              <a:latin typeface="FZSJ-YANGGNH" panose="02010600010101010101" pitchFamily="2" charset="-122"/>
              <a:ea typeface="FZSJ-YANGGNH" panose="02010600010101010101" pitchFamily="2" charset="-122"/>
            </a:endParaRPr>
          </a:p>
        </p:txBody>
      </p:sp>
      <p:sp>
        <p:nvSpPr>
          <p:cNvPr id="16" name="Freeform 24"/>
          <p:cNvSpPr>
            <a:spLocks noEditPoints="1"/>
          </p:cNvSpPr>
          <p:nvPr/>
        </p:nvSpPr>
        <p:spPr bwMode="auto">
          <a:xfrm>
            <a:off x="2819993" y="1585731"/>
            <a:ext cx="288756" cy="287839"/>
          </a:xfrm>
          <a:custGeom>
            <a:avLst/>
            <a:gdLst>
              <a:gd name="T0" fmla="*/ 23 w 47"/>
              <a:gd name="T1" fmla="*/ 0 h 47"/>
              <a:gd name="T2" fmla="*/ 47 w 47"/>
              <a:gd name="T3" fmla="*/ 24 h 47"/>
              <a:gd name="T4" fmla="*/ 23 w 47"/>
              <a:gd name="T5" fmla="*/ 47 h 47"/>
              <a:gd name="T6" fmla="*/ 0 w 47"/>
              <a:gd name="T7" fmla="*/ 24 h 47"/>
              <a:gd name="T8" fmla="*/ 23 w 47"/>
              <a:gd name="T9" fmla="*/ 0 h 47"/>
              <a:gd name="T10" fmla="*/ 23 w 47"/>
              <a:gd name="T11" fmla="*/ 15 h 47"/>
              <a:gd name="T12" fmla="*/ 15 w 47"/>
              <a:gd name="T13" fmla="*/ 24 h 47"/>
              <a:gd name="T14" fmla="*/ 23 w 47"/>
              <a:gd name="T15" fmla="*/ 32 h 47"/>
              <a:gd name="T16" fmla="*/ 32 w 47"/>
              <a:gd name="T17" fmla="*/ 24 h 47"/>
              <a:gd name="T18" fmla="*/ 23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
        <p:nvSpPr>
          <p:cNvPr id="17" name="Freeform 25"/>
          <p:cNvSpPr>
            <a:spLocks noEditPoints="1"/>
          </p:cNvSpPr>
          <p:nvPr/>
        </p:nvSpPr>
        <p:spPr bwMode="auto">
          <a:xfrm>
            <a:off x="2143629" y="1585731"/>
            <a:ext cx="291357" cy="287839"/>
          </a:xfrm>
          <a:custGeom>
            <a:avLst/>
            <a:gdLst>
              <a:gd name="T0" fmla="*/ 24 w 47"/>
              <a:gd name="T1" fmla="*/ 0 h 47"/>
              <a:gd name="T2" fmla="*/ 47 w 47"/>
              <a:gd name="T3" fmla="*/ 24 h 47"/>
              <a:gd name="T4" fmla="*/ 24 w 47"/>
              <a:gd name="T5" fmla="*/ 47 h 47"/>
              <a:gd name="T6" fmla="*/ 0 w 47"/>
              <a:gd name="T7" fmla="*/ 24 h 47"/>
              <a:gd name="T8" fmla="*/ 24 w 47"/>
              <a:gd name="T9" fmla="*/ 0 h 47"/>
              <a:gd name="T10" fmla="*/ 24 w 47"/>
              <a:gd name="T11" fmla="*/ 15 h 47"/>
              <a:gd name="T12" fmla="*/ 15 w 47"/>
              <a:gd name="T13" fmla="*/ 24 h 47"/>
              <a:gd name="T14" fmla="*/ 24 w 47"/>
              <a:gd name="T15" fmla="*/ 32 h 47"/>
              <a:gd name="T16" fmla="*/ 32 w 47"/>
              <a:gd name="T17" fmla="*/ 24 h 47"/>
              <a:gd name="T18" fmla="*/ 24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4" y="0"/>
                </a:moveTo>
                <a:cubicBezTo>
                  <a:pt x="37" y="0"/>
                  <a:pt x="47" y="11"/>
                  <a:pt x="47" y="24"/>
                </a:cubicBezTo>
                <a:cubicBezTo>
                  <a:pt x="47"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8" y="32"/>
                  <a:pt x="32" y="28"/>
                  <a:pt x="32" y="24"/>
                </a:cubicBezTo>
                <a:cubicBezTo>
                  <a:pt x="32" y="19"/>
                  <a:pt x="28" y="15"/>
                  <a:pt x="24" y="15"/>
                </a:cubicBez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
        <p:nvSpPr>
          <p:cNvPr id="18" name="Freeform 26"/>
          <p:cNvSpPr>
            <a:spLocks noEditPoints="1"/>
          </p:cNvSpPr>
          <p:nvPr/>
        </p:nvSpPr>
        <p:spPr bwMode="auto">
          <a:xfrm>
            <a:off x="1469866" y="1585731"/>
            <a:ext cx="293958" cy="287839"/>
          </a:xfrm>
          <a:custGeom>
            <a:avLst/>
            <a:gdLst>
              <a:gd name="T0" fmla="*/ 24 w 48"/>
              <a:gd name="T1" fmla="*/ 0 h 47"/>
              <a:gd name="T2" fmla="*/ 48 w 48"/>
              <a:gd name="T3" fmla="*/ 24 h 47"/>
              <a:gd name="T4" fmla="*/ 24 w 48"/>
              <a:gd name="T5" fmla="*/ 47 h 47"/>
              <a:gd name="T6" fmla="*/ 0 w 48"/>
              <a:gd name="T7" fmla="*/ 24 h 47"/>
              <a:gd name="T8" fmla="*/ 24 w 48"/>
              <a:gd name="T9" fmla="*/ 0 h 47"/>
              <a:gd name="T10" fmla="*/ 24 w 48"/>
              <a:gd name="T11" fmla="*/ 15 h 47"/>
              <a:gd name="T12" fmla="*/ 15 w 48"/>
              <a:gd name="T13" fmla="*/ 24 h 47"/>
              <a:gd name="T14" fmla="*/ 24 w 48"/>
              <a:gd name="T15" fmla="*/ 32 h 47"/>
              <a:gd name="T16" fmla="*/ 32 w 48"/>
              <a:gd name="T17" fmla="*/ 24 h 47"/>
              <a:gd name="T18" fmla="*/ 24 w 48"/>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FZSJ-YANGGNH" panose="02010600010101010101" pitchFamily="2" charset="-122"/>
              <a:ea typeface="FZSJ-YANGGNH" panose="02010600010101010101" pitchFamily="2" charset="-122"/>
            </a:endParaRPr>
          </a:p>
        </p:txBody>
      </p:sp>
    </p:spTree>
    <p:extLst>
      <p:ext uri="{BB962C8B-B14F-4D97-AF65-F5344CB8AC3E}">
        <p14:creationId xmlns:p14="http://schemas.microsoft.com/office/powerpoint/2010/main" val="287330050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2"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up)">
                                      <p:cBhvr>
                                        <p:cTn id="36" dur="500"/>
                                        <p:tgtEl>
                                          <p:spTgt spid="10"/>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up)">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1+#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1+#ppt_w/2"/>
                                          </p:val>
                                        </p:tav>
                                        <p:tav tm="100000">
                                          <p:val>
                                            <p:strVal val="#ppt_x"/>
                                          </p:val>
                                        </p:tav>
                                      </p:tavLst>
                                    </p:anim>
                                    <p:anim calcmode="lin" valueType="num">
                                      <p:cBhvr additive="base">
                                        <p:cTn id="52" dur="500" fill="hold"/>
                                        <p:tgtEl>
                                          <p:spTgt spid="14"/>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1+#ppt_w/2"/>
                                          </p:val>
                                        </p:tav>
                                        <p:tav tm="100000">
                                          <p:val>
                                            <p:strVal val="#ppt_x"/>
                                          </p:val>
                                        </p:tav>
                                      </p:tavLst>
                                    </p:anim>
                                    <p:anim calcmode="lin" valueType="num">
                                      <p:cBhvr additive="base">
                                        <p:cTn id="5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14" grpId="0"/>
      <p:bldP spid="15" grpId="0"/>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FZSJ-YANGGNH" panose="02010600010101010101" pitchFamily="2" charset="-122"/>
                <a:ea typeface="FZSJ-YANGGNH" panose="02010600010101010101" pitchFamily="2" charset="-122"/>
              </a:rPr>
              <a:t>标题内容</a:t>
            </a:r>
            <a:endParaRPr lang="en-US" altLang="zh-CN" sz="2800" dirty="0">
              <a:solidFill>
                <a:schemeClr val="bg1"/>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FZSJ-YANGGNH" panose="02010600010101010101" pitchFamily="2" charset="-122"/>
                <a:ea typeface="FZSJ-YANGGNH" panose="02010600010101010101" pitchFamily="2" charset="-122"/>
              </a:endParaRPr>
            </a:p>
          </p:txBody>
        </p:sp>
        <p:sp>
          <p:nvSpPr>
            <p:cNvPr id="10" name="Text Box 61"/>
            <p:cNvSpPr txBox="1">
              <a:spLocks noChangeArrowheads="1"/>
            </p:cNvSpPr>
            <p:nvPr/>
          </p:nvSpPr>
          <p:spPr bwMode="gray">
            <a:xfrm>
              <a:off x="1266429" y="2339447"/>
              <a:ext cx="89103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FZSJ-YANGGNH" panose="02010600010101010101" pitchFamily="2" charset="-122"/>
                  <a:ea typeface="FZSJ-YANGGNH" panose="02010600010101010101" pitchFamily="2" charset="-122"/>
                  <a:cs typeface="Arial" pitchFamily="34" charset="0"/>
                </a:rPr>
                <a:t>标题</a:t>
              </a:r>
              <a:endParaRPr lang="zh-CN" altLang="en-US" dirty="0">
                <a:solidFill>
                  <a:schemeClr val="accent2"/>
                </a:solidFill>
                <a:latin typeface="FZSJ-YANGGNH" panose="02010600010101010101" pitchFamily="2" charset="-122"/>
                <a:ea typeface="FZSJ-YANGGNH" panose="02010600010101010101" pitchFamily="2" charset="-122"/>
                <a:cs typeface="Arial" pitchFamily="34" charset="0"/>
              </a:endParaRPr>
            </a:p>
          </p:txBody>
        </p:sp>
      </p:grpSp>
      <p:grpSp>
        <p:nvGrpSpPr>
          <p:cNvPr id="11" name="组合 10"/>
          <p:cNvGrpSpPr/>
          <p:nvPr/>
        </p:nvGrpSpPr>
        <p:grpSpPr>
          <a:xfrm>
            <a:off x="1409077" y="3238050"/>
            <a:ext cx="5138267" cy="1029724"/>
            <a:chOff x="1009650" y="3616989"/>
            <a:chExt cx="6071294" cy="1216706"/>
          </a:xfrm>
        </p:grpSpPr>
        <p:sp>
          <p:nvSpPr>
            <p:cNvPr id="12" name="Line 58"/>
            <p:cNvSpPr>
              <a:spLocks noChangeShapeType="1"/>
            </p:cNvSpPr>
            <p:nvPr/>
          </p:nvSpPr>
          <p:spPr bwMode="black">
            <a:xfrm>
              <a:off x="1765300" y="3616989"/>
              <a:ext cx="0" cy="3349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14" name="Text Box 60"/>
            <p:cNvSpPr txBox="1">
              <a:spLocks noChangeArrowheads="1"/>
            </p:cNvSpPr>
            <p:nvPr/>
          </p:nvSpPr>
          <p:spPr bwMode="auto">
            <a:xfrm>
              <a:off x="1122412" y="4015451"/>
              <a:ext cx="2070100" cy="818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文字</a:t>
              </a:r>
            </a:p>
            <a:p>
              <a:pPr eaLnBrk="1" hangingPunct="1">
                <a:lnSpc>
                  <a:spcPct val="130000"/>
                </a:lnSpc>
                <a:buClr>
                  <a:srgbClr val="08080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文字</a:t>
              </a:r>
            </a:p>
            <a:p>
              <a:pPr eaLnBrk="1" hangingPunct="1">
                <a:lnSpc>
                  <a:spcPct val="130000"/>
                </a:lnSpc>
                <a:buClr>
                  <a:srgbClr val="080808"/>
                </a:buClr>
              </a:pPr>
              <a:endParaRPr lang="zh-CN" altLang="en-US" sz="1000" dirty="0">
                <a:solidFill>
                  <a:schemeClr val="accent1"/>
                </a:solidFill>
                <a:latin typeface="FZSJ-YANGGNH" panose="02010600010101010101" pitchFamily="2" charset="-122"/>
                <a:ea typeface="FZSJ-YANGGNH" panose="02010600010101010101" pitchFamily="2" charset="-122"/>
                <a:cs typeface="Arial" pitchFamily="34" charset="0"/>
              </a:endParaRPr>
            </a:p>
          </p:txBody>
        </p:sp>
        <p:sp>
          <p:nvSpPr>
            <p:cNvPr id="15" name="Line 71"/>
            <p:cNvSpPr>
              <a:spLocks noChangeShapeType="1"/>
            </p:cNvSpPr>
            <p:nvPr/>
          </p:nvSpPr>
          <p:spPr bwMode="black">
            <a:xfrm>
              <a:off x="5648325" y="3616989"/>
              <a:ext cx="0" cy="334962"/>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17" name="Text Box 73"/>
            <p:cNvSpPr txBox="1">
              <a:spLocks noChangeArrowheads="1"/>
            </p:cNvSpPr>
            <p:nvPr/>
          </p:nvSpPr>
          <p:spPr bwMode="auto">
            <a:xfrm>
              <a:off x="5010844" y="4015451"/>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a:t>
              </a: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文字</a:t>
              </a:r>
              <a:endParaRPr lang="en-US" altLang="zh-CN" sz="1000" dirty="0" smtClean="0">
                <a:solidFill>
                  <a:schemeClr val="accent1"/>
                </a:solidFill>
                <a:latin typeface="FZSJ-YANGGNH" panose="02010600010101010101" pitchFamily="2" charset="-122"/>
                <a:ea typeface="FZSJ-YANGGNH" panose="02010600010101010101" pitchFamily="2" charset="-122"/>
                <a:cs typeface="Arial" pitchFamily="34" charset="0"/>
              </a:endParaRPr>
            </a:p>
            <a:p>
              <a:pPr eaLnBrk="1" hangingPunct="1">
                <a:lnSpc>
                  <a:spcPct val="130000"/>
                </a:lnSpc>
                <a:buClr>
                  <a:srgbClr val="08080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a:t>
              </a: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文字</a:t>
              </a:r>
              <a:endParaRPr lang="zh-CN" altLang="en-US" sz="1000" dirty="0">
                <a:solidFill>
                  <a:schemeClr val="accent1"/>
                </a:solidFill>
                <a:latin typeface="FZSJ-YANGGNH" panose="02010600010101010101" pitchFamily="2" charset="-122"/>
                <a:ea typeface="FZSJ-YANGGNH" panose="02010600010101010101" pitchFamily="2" charset="-122"/>
                <a:cs typeface="Arial" pitchFamily="34" charset="0"/>
              </a:endParaRPr>
            </a:p>
          </p:txBody>
        </p:sp>
      </p:grpSp>
      <p:grpSp>
        <p:nvGrpSpPr>
          <p:cNvPr id="18" name="Group 74"/>
          <p:cNvGrpSpPr>
            <a:grpSpLocks/>
          </p:cNvGrpSpPr>
          <p:nvPr/>
        </p:nvGrpSpPr>
        <p:grpSpPr bwMode="auto">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1" name="Arc 77"/>
            <p:cNvSpPr>
              <a:spLocks/>
            </p:cNvSpPr>
            <p:nvPr/>
          </p:nvSpPr>
          <p:spPr bwMode="gray">
            <a:xfrm rot="16200000" flipV="1">
              <a:off x="2052" y="1833"/>
              <a:ext cx="412"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2" name="Arc 78"/>
            <p:cNvSpPr>
              <a:spLocks/>
            </p:cNvSpPr>
            <p:nvPr/>
          </p:nvSpPr>
          <p:spPr bwMode="gray">
            <a:xfrm rot="16200000" flipV="1">
              <a:off x="4503" y="1831"/>
              <a:ext cx="418"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4" name="Arc 80"/>
            <p:cNvSpPr>
              <a:spLocks/>
            </p:cNvSpPr>
            <p:nvPr/>
          </p:nvSpPr>
          <p:spPr bwMode="gray">
            <a:xfrm rot="5400000">
              <a:off x="3278"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27" name="Arc 83"/>
            <p:cNvSpPr>
              <a:spLocks/>
            </p:cNvSpPr>
            <p:nvPr/>
          </p:nvSpPr>
          <p:spPr bwMode="gray">
            <a:xfrm rot="5400000">
              <a:off x="815"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FZSJ-YANGGNH" panose="02010600010101010101" pitchFamily="2" charset="-122"/>
                <a:ea typeface="FZSJ-YANGGNH" panose="02010600010101010101" pitchFamily="2" charset="-122"/>
              </a:endParaRPr>
            </a:p>
          </p:txBody>
        </p:sp>
      </p:grpSp>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FZSJ-YANGGNH" panose="02010600010101010101" pitchFamily="2" charset="-122"/>
                <a:ea typeface="FZSJ-YANGGNH" panose="02010600010101010101" pitchFamily="2" charset="-122"/>
              </a:endParaRPr>
            </a:p>
          </p:txBody>
        </p:sp>
        <p:sp>
          <p:nvSpPr>
            <p:cNvPr id="30" name="Text Box 61"/>
            <p:cNvSpPr txBox="1">
              <a:spLocks noChangeArrowheads="1"/>
            </p:cNvSpPr>
            <p:nvPr/>
          </p:nvSpPr>
          <p:spPr bwMode="gray">
            <a:xfrm>
              <a:off x="514985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FZSJ-YANGGNH" panose="02010600010101010101" pitchFamily="2" charset="-122"/>
                  <a:ea typeface="FZSJ-YANGGNH" panose="02010600010101010101" pitchFamily="2" charset="-122"/>
                  <a:cs typeface="Arial" pitchFamily="34" charset="0"/>
                </a:rPr>
                <a:t>标题</a:t>
              </a:r>
              <a:endParaRPr lang="zh-CN" altLang="en-US" dirty="0">
                <a:solidFill>
                  <a:schemeClr val="accent2"/>
                </a:solidFill>
                <a:latin typeface="FZSJ-YANGGNH" panose="02010600010101010101" pitchFamily="2" charset="-122"/>
                <a:ea typeface="FZSJ-YANGGNH" panose="02010600010101010101" pitchFamily="2" charset="-122"/>
                <a:cs typeface="Arial" pitchFamily="34" charset="0"/>
              </a:endParaRPr>
            </a:p>
          </p:txBody>
        </p:sp>
      </p:grpSp>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FZSJ-YANGGNH" panose="02010600010101010101" pitchFamily="2" charset="-122"/>
                <a:ea typeface="FZSJ-YANGGNH" panose="02010600010101010101" pitchFamily="2" charset="-122"/>
              </a:endParaRPr>
            </a:p>
          </p:txBody>
        </p:sp>
        <p:sp>
          <p:nvSpPr>
            <p:cNvPr id="33" name="Text Box 61"/>
            <p:cNvSpPr txBox="1">
              <a:spLocks noChangeArrowheads="1"/>
            </p:cNvSpPr>
            <p:nvPr/>
          </p:nvSpPr>
          <p:spPr bwMode="gray">
            <a:xfrm>
              <a:off x="7108825"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FZSJ-YANGGNH" panose="02010600010101010101" pitchFamily="2" charset="-122"/>
                  <a:ea typeface="FZSJ-YANGGNH" panose="02010600010101010101" pitchFamily="2" charset="-122"/>
                  <a:cs typeface="Arial" pitchFamily="34" charset="0"/>
                </a:rPr>
                <a:t>标题</a:t>
              </a:r>
              <a:endParaRPr lang="zh-CN" altLang="en-US" dirty="0">
                <a:solidFill>
                  <a:schemeClr val="accent2"/>
                </a:solidFill>
                <a:latin typeface="FZSJ-YANGGNH" panose="02010600010101010101" pitchFamily="2" charset="-122"/>
                <a:ea typeface="FZSJ-YANGGNH" panose="02010600010101010101" pitchFamily="2" charset="-122"/>
                <a:cs typeface="Arial" pitchFamily="34" charset="0"/>
              </a:endParaRP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FZSJ-YANGGNH" panose="02010600010101010101" pitchFamily="2" charset="-122"/>
                <a:ea typeface="FZSJ-YANGGNH" panose="02010600010101010101" pitchFamily="2" charset="-122"/>
              </a:endParaRPr>
            </a:p>
          </p:txBody>
        </p:sp>
        <p:sp>
          <p:nvSpPr>
            <p:cNvPr id="36" name="Text Box 61"/>
            <p:cNvSpPr txBox="1">
              <a:spLocks noChangeArrowheads="1"/>
            </p:cNvSpPr>
            <p:nvPr/>
          </p:nvSpPr>
          <p:spPr bwMode="gray">
            <a:xfrm>
              <a:off x="321310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smtClean="0">
                  <a:solidFill>
                    <a:schemeClr val="accent2"/>
                  </a:solidFill>
                  <a:latin typeface="FZSJ-YANGGNH" panose="02010600010101010101" pitchFamily="2" charset="-122"/>
                  <a:ea typeface="FZSJ-YANGGNH" panose="02010600010101010101" pitchFamily="2" charset="-122"/>
                  <a:cs typeface="Arial" pitchFamily="34" charset="0"/>
                </a:rPr>
                <a:t>标题</a:t>
              </a:r>
              <a:endParaRPr lang="zh-CN" altLang="en-US" dirty="0">
                <a:solidFill>
                  <a:schemeClr val="accent2"/>
                </a:solidFill>
                <a:latin typeface="FZSJ-YANGGNH" panose="02010600010101010101" pitchFamily="2" charset="-122"/>
                <a:ea typeface="FZSJ-YANGGNH" panose="02010600010101010101" pitchFamily="2" charset="-122"/>
                <a:cs typeface="Arial" pitchFamily="34" charset="0"/>
              </a:endParaRP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a:off x="7632700" y="2042189"/>
              <a:ext cx="0" cy="3349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41" name="Text Box 70"/>
            <p:cNvSpPr txBox="1">
              <a:spLocks noChangeArrowheads="1"/>
            </p:cNvSpPr>
            <p:nvPr/>
          </p:nvSpPr>
          <p:spPr bwMode="auto">
            <a:xfrm>
              <a:off x="3066629" y="1298195"/>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a:t>
              </a: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文字</a:t>
              </a:r>
              <a:endParaRPr lang="en-US" altLang="zh-CN" sz="1000" dirty="0">
                <a:solidFill>
                  <a:schemeClr val="accent1"/>
                </a:solidFill>
                <a:latin typeface="FZSJ-YANGGNH" panose="02010600010101010101" pitchFamily="2" charset="-122"/>
                <a:ea typeface="FZSJ-YANGGNH" panose="02010600010101010101" pitchFamily="2"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文字</a:t>
              </a:r>
            </a:p>
          </p:txBody>
        </p:sp>
        <p:sp>
          <p:nvSpPr>
            <p:cNvPr id="42" name="Line 71"/>
            <p:cNvSpPr>
              <a:spLocks noChangeShapeType="1"/>
            </p:cNvSpPr>
            <p:nvPr/>
          </p:nvSpPr>
          <p:spPr bwMode="black">
            <a:xfrm>
              <a:off x="3736975" y="1995686"/>
              <a:ext cx="0" cy="334962"/>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FZSJ-YANGGNH" panose="02010600010101010101" pitchFamily="2" charset="-122"/>
                <a:ea typeface="FZSJ-YANGGNH" panose="02010600010101010101" pitchFamily="2" charset="-122"/>
              </a:endParaRPr>
            </a:p>
          </p:txBody>
        </p:sp>
        <p:sp>
          <p:nvSpPr>
            <p:cNvPr id="43" name="Text Box 70"/>
            <p:cNvSpPr txBox="1">
              <a:spLocks noChangeArrowheads="1"/>
            </p:cNvSpPr>
            <p:nvPr/>
          </p:nvSpPr>
          <p:spPr bwMode="auto">
            <a:xfrm>
              <a:off x="6955060" y="1370203"/>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a:t>
              </a: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文字</a:t>
              </a:r>
              <a:endParaRPr lang="en-US" altLang="zh-CN" sz="1000" dirty="0" smtClean="0">
                <a:solidFill>
                  <a:schemeClr val="accent1"/>
                </a:solidFill>
                <a:latin typeface="FZSJ-YANGGNH" panose="02010600010101010101" pitchFamily="2" charset="-122"/>
                <a:ea typeface="FZSJ-YANGGNH" panose="02010600010101010101" pitchFamily="2" charset="-122"/>
                <a:cs typeface="Arial" pitchFamily="34" charset="0"/>
              </a:endParaRPr>
            </a:p>
            <a:p>
              <a:pPr eaLnBrk="1" hangingPunct="1">
                <a:lnSpc>
                  <a:spcPct val="130000"/>
                </a:lnSpc>
                <a:buClr>
                  <a:srgbClr val="F8F8F8"/>
                </a:buClr>
              </a:pPr>
              <a:r>
                <a:rPr lang="zh-CN" altLang="en-US" sz="1000" dirty="0" smtClean="0">
                  <a:solidFill>
                    <a:schemeClr val="accent1"/>
                  </a:solidFill>
                  <a:latin typeface="FZSJ-YANGGNH" panose="02010600010101010101" pitchFamily="2" charset="-122"/>
                  <a:ea typeface="FZSJ-YANGGNH" panose="02010600010101010101" pitchFamily="2" charset="-122"/>
                  <a:cs typeface="Arial" pitchFamily="34" charset="0"/>
                </a:rPr>
                <a:t>点击</a:t>
              </a:r>
              <a:r>
                <a:rPr lang="zh-CN" altLang="en-US" sz="1000" dirty="0">
                  <a:solidFill>
                    <a:schemeClr val="accent1"/>
                  </a:solidFill>
                  <a:latin typeface="FZSJ-YANGGNH" panose="02010600010101010101" pitchFamily="2" charset="-122"/>
                  <a:ea typeface="FZSJ-YANGGNH" panose="02010600010101010101" pitchFamily="2" charset="-122"/>
                  <a:cs typeface="Arial" pitchFamily="34" charset="0"/>
                </a:rPr>
                <a:t>此处添加文字</a:t>
              </a:r>
            </a:p>
          </p:txBody>
        </p:sp>
      </p:grpSp>
    </p:spTree>
    <p:extLst>
      <p:ext uri="{BB962C8B-B14F-4D97-AF65-F5344CB8AC3E}">
        <p14:creationId xmlns:p14="http://schemas.microsoft.com/office/powerpoint/2010/main" val="202615307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anim calcmode="lin" valueType="num">
                                      <p:cBhvr>
                                        <p:cTn id="25" dur="500" fill="hold"/>
                                        <p:tgtEl>
                                          <p:spTgt spid="37"/>
                                        </p:tgtEl>
                                        <p:attrNameLst>
                                          <p:attrName>ppt_x</p:attrName>
                                        </p:attrNameLst>
                                      </p:cBhvr>
                                      <p:tavLst>
                                        <p:tav tm="0">
                                          <p:val>
                                            <p:strVal val="#ppt_x"/>
                                          </p:val>
                                        </p:tav>
                                        <p:tav tm="100000">
                                          <p:val>
                                            <p:strVal val="#ppt_x"/>
                                          </p:val>
                                        </p:tav>
                                      </p:tavLst>
                                    </p:anim>
                                    <p:anim calcmode="lin" valueType="num">
                                      <p:cBhvr>
                                        <p:cTn id="26" dur="5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anim calcmode="lin" valueType="num">
                                      <p:cBhvr>
                                        <p:cTn id="32" dur="500" fill="hold"/>
                                        <p:tgtEl>
                                          <p:spTgt spid="11"/>
                                        </p:tgtEl>
                                        <p:attrNameLst>
                                          <p:attrName>ppt_x</p:attrName>
                                        </p:attrNameLst>
                                      </p:cBhvr>
                                      <p:tavLst>
                                        <p:tav tm="0">
                                          <p:val>
                                            <p:strVal val="#ppt_x"/>
                                          </p:val>
                                        </p:tav>
                                        <p:tav tm="100000">
                                          <p:val>
                                            <p:strVal val="#ppt_x"/>
                                          </p:val>
                                        </p:tav>
                                      </p:tavLst>
                                    </p:anim>
                                    <p:anim calcmode="lin" valueType="num">
                                      <p:cBhvr>
                                        <p:cTn id="33"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FZSJ-YANGGNH" panose="02010600010101010101" pitchFamily="2" charset="-122"/>
                <a:ea typeface="FZSJ-YANGGNH" panose="02010600010101010101" pitchFamily="2" charset="-122"/>
              </a:rPr>
              <a:t>标题内容</a:t>
            </a:r>
            <a:endParaRPr lang="en-US" altLang="zh-CN" sz="2800" dirty="0">
              <a:solidFill>
                <a:schemeClr val="bg1"/>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9" name="组合 58"/>
          <p:cNvGrpSpPr/>
          <p:nvPr/>
        </p:nvGrpSpPr>
        <p:grpSpPr>
          <a:xfrm>
            <a:off x="5538813" y="1275606"/>
            <a:ext cx="2796076" cy="2835506"/>
            <a:chOff x="1331640" y="1707654"/>
            <a:chExt cx="2796076" cy="2835506"/>
          </a:xfrm>
        </p:grpSpPr>
        <p:sp>
          <p:nvSpPr>
            <p:cNvPr id="60" name="等腰三角形 5"/>
            <p:cNvSpPr/>
            <p:nvPr/>
          </p:nvSpPr>
          <p:spPr>
            <a:xfrm>
              <a:off x="1608861" y="1707654"/>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sp>
          <p:nvSpPr>
            <p:cNvPr id="61" name="等腰三角形 5"/>
            <p:cNvSpPr/>
            <p:nvPr/>
          </p:nvSpPr>
          <p:spPr>
            <a:xfrm>
              <a:off x="1619672" y="2445005"/>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sp>
          <p:nvSpPr>
            <p:cNvPr id="62" name="等腰三角形 5"/>
            <p:cNvSpPr/>
            <p:nvPr/>
          </p:nvSpPr>
          <p:spPr>
            <a:xfrm flipV="1">
              <a:off x="1608861" y="3167482"/>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sp>
          <p:nvSpPr>
            <p:cNvPr id="63" name="等腰三角形 5"/>
            <p:cNvSpPr/>
            <p:nvPr/>
          </p:nvSpPr>
          <p:spPr>
            <a:xfrm flipV="1">
              <a:off x="1619672" y="3356821"/>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sp>
          <p:nvSpPr>
            <p:cNvPr id="64" name="圆角矩形 11"/>
            <p:cNvSpPr/>
            <p:nvPr/>
          </p:nvSpPr>
          <p:spPr>
            <a:xfrm>
              <a:off x="1331640" y="3079858"/>
              <a:ext cx="198918" cy="87624"/>
            </a:xfrm>
            <a:custGeom>
              <a:avLst/>
              <a:gdLst/>
              <a:ahLst/>
              <a:cxnLst/>
              <a:rect l="l" t="t" r="r" b="b"/>
              <a:pathLst>
                <a:path w="198918" h="87624">
                  <a:moveTo>
                    <a:pt x="43812" y="0"/>
                  </a:moveTo>
                  <a:lnTo>
                    <a:pt x="198918" y="0"/>
                  </a:lnTo>
                  <a:lnTo>
                    <a:pt x="198918" y="87624"/>
                  </a:lnTo>
                  <a:lnTo>
                    <a:pt x="43812" y="87624"/>
                  </a:lnTo>
                  <a:cubicBezTo>
                    <a:pt x="19615" y="87624"/>
                    <a:pt x="0" y="68009"/>
                    <a:pt x="0" y="43812"/>
                  </a:cubicBezTo>
                  <a:cubicBezTo>
                    <a:pt x="0" y="19615"/>
                    <a:pt x="19615" y="0"/>
                    <a:pt x="438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sp>
          <p:nvSpPr>
            <p:cNvPr id="65" name="空心弧 15"/>
            <p:cNvSpPr/>
            <p:nvPr/>
          </p:nvSpPr>
          <p:spPr>
            <a:xfrm rot="5400000">
              <a:off x="3312321" y="2346812"/>
              <a:ext cx="509372" cy="1121419"/>
            </a:xfrm>
            <a:custGeom>
              <a:avLst/>
              <a:gdLst/>
              <a:ahLst/>
              <a:cxnLst/>
              <a:rect l="l" t="t" r="r" b="b"/>
              <a:pathLst>
                <a:path w="509372" h="1121419">
                  <a:moveTo>
                    <a:pt x="507512" y="1121419"/>
                  </a:moveTo>
                  <a:lnTo>
                    <a:pt x="509372" y="1119300"/>
                  </a:lnTo>
                  <a:lnTo>
                    <a:pt x="509372" y="1121419"/>
                  </a:lnTo>
                  <a:close/>
                  <a:moveTo>
                    <a:pt x="430106" y="1116802"/>
                  </a:moveTo>
                  <a:lnTo>
                    <a:pt x="434159" y="1121419"/>
                  </a:lnTo>
                  <a:lnTo>
                    <a:pt x="430599" y="1121419"/>
                  </a:lnTo>
                  <a:cubicBezTo>
                    <a:pt x="430325" y="1119896"/>
                    <a:pt x="430214" y="1118353"/>
                    <a:pt x="430106" y="1116802"/>
                  </a:cubicBezTo>
                  <a:close/>
                  <a:moveTo>
                    <a:pt x="0" y="259419"/>
                  </a:moveTo>
                  <a:lnTo>
                    <a:pt x="832" y="257324"/>
                  </a:lnTo>
                  <a:lnTo>
                    <a:pt x="0" y="257324"/>
                  </a:lnTo>
                  <a:cubicBezTo>
                    <a:pt x="0" y="161091"/>
                    <a:pt x="53696" y="72900"/>
                    <a:pt x="139188" y="28721"/>
                  </a:cubicBezTo>
                  <a:cubicBezTo>
                    <a:pt x="224680" y="-15459"/>
                    <a:pt x="327679" y="-8244"/>
                    <a:pt x="406177" y="47423"/>
                  </a:cubicBezTo>
                  <a:cubicBezTo>
                    <a:pt x="466571" y="90252"/>
                    <a:pt x="504696" y="156253"/>
                    <a:pt x="509372" y="227993"/>
                  </a:cubicBezTo>
                  <a:lnTo>
                    <a:pt x="509372" y="1073841"/>
                  </a:lnTo>
                  <a:cubicBezTo>
                    <a:pt x="502538" y="1059565"/>
                    <a:pt x="487753" y="1050433"/>
                    <a:pt x="470835" y="1050433"/>
                  </a:cubicBezTo>
                  <a:cubicBezTo>
                    <a:pt x="451854" y="1050433"/>
                    <a:pt x="435559" y="1061928"/>
                    <a:pt x="428567" y="1078352"/>
                  </a:cubicBezTo>
                  <a:cubicBezTo>
                    <a:pt x="427251" y="1065847"/>
                    <a:pt x="427023" y="1052948"/>
                    <a:pt x="427023" y="1039779"/>
                  </a:cubicBezTo>
                  <a:lnTo>
                    <a:pt x="427023" y="281216"/>
                  </a:lnTo>
                  <a:lnTo>
                    <a:pt x="427023" y="281216"/>
                  </a:lnTo>
                  <a:lnTo>
                    <a:pt x="427023" y="236015"/>
                  </a:lnTo>
                  <a:lnTo>
                    <a:pt x="426558" y="236015"/>
                  </a:lnTo>
                  <a:cubicBezTo>
                    <a:pt x="420904" y="189157"/>
                    <a:pt x="395728" y="146071"/>
                    <a:pt x="356132" y="117992"/>
                  </a:cubicBezTo>
                  <a:cubicBezTo>
                    <a:pt x="304025" y="81040"/>
                    <a:pt x="235655" y="76251"/>
                    <a:pt x="178905" y="105577"/>
                  </a:cubicBezTo>
                  <a:cubicBezTo>
                    <a:pt x="122253" y="134854"/>
                    <a:pt x="86634" y="193244"/>
                    <a:pt x="86558" y="256996"/>
                  </a:cubicBezTo>
                  <a:cubicBezTo>
                    <a:pt x="87499" y="257768"/>
                    <a:pt x="87520" y="258591"/>
                    <a:pt x="87520" y="259419"/>
                  </a:cubicBezTo>
                  <a:cubicBezTo>
                    <a:pt x="87520" y="284619"/>
                    <a:pt x="67928" y="305047"/>
                    <a:pt x="43760" y="305047"/>
                  </a:cubicBezTo>
                  <a:cubicBezTo>
                    <a:pt x="19592" y="305047"/>
                    <a:pt x="0" y="284619"/>
                    <a:pt x="0" y="25941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FZSJ-YANGGNH" panose="02010600010101010101" pitchFamily="2" charset="-122"/>
                <a:ea typeface="FZSJ-YANGGNH" panose="02010600010101010101" pitchFamily="2" charset="-122"/>
              </a:endParaRPr>
            </a:p>
          </p:txBody>
        </p:sp>
      </p:grpSp>
      <p:sp>
        <p:nvSpPr>
          <p:cNvPr id="66" name="矩形 1"/>
          <p:cNvSpPr>
            <a:spLocks noChangeArrowheads="1"/>
          </p:cNvSpPr>
          <p:nvPr/>
        </p:nvSpPr>
        <p:spPr bwMode="auto">
          <a:xfrm>
            <a:off x="1043608" y="142148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您的内容打在这里，或者通过复制您的文本后，在此框中</a:t>
            </a:r>
            <a:r>
              <a:rPr lang="zh-CN" altLang="en-US" sz="1000" dirty="0" smtClean="0">
                <a:solidFill>
                  <a:schemeClr val="accent1"/>
                </a:solidFill>
                <a:latin typeface="FZSJ-YANGGNH" panose="02010600010101010101" pitchFamily="2" charset="-122"/>
                <a:ea typeface="FZSJ-YANGGNH" panose="02010600010101010101" pitchFamily="2" charset="-122"/>
              </a:rPr>
              <a:t>选择</a:t>
            </a:r>
            <a:r>
              <a:rPr lang="zh-CN" altLang="en-US" sz="1000" dirty="0">
                <a:solidFill>
                  <a:schemeClr val="accent1"/>
                </a:solidFill>
                <a:latin typeface="FZSJ-YANGGNH" panose="02010600010101010101" pitchFamily="2" charset="-122"/>
                <a:ea typeface="FZSJ-YANGGNH" panose="02010600010101010101" pitchFamily="2" charset="-122"/>
              </a:rPr>
              <a:t>您的内容打在这里，或者通过复制您的文本后，在此框</a:t>
            </a:r>
            <a:r>
              <a:rPr lang="zh-CN" altLang="en-US" sz="1000" dirty="0" smtClean="0">
                <a:solidFill>
                  <a:schemeClr val="accent1"/>
                </a:solidFill>
                <a:latin typeface="FZSJ-YANGGNH" panose="02010600010101010101" pitchFamily="2" charset="-122"/>
                <a:ea typeface="FZSJ-YANGGNH" panose="02010600010101010101" pitchFamily="2" charset="-122"/>
              </a:rPr>
              <a:t>中</a:t>
            </a:r>
            <a:endParaRPr lang="zh-CN" altLang="en-US" sz="1000" dirty="0">
              <a:solidFill>
                <a:schemeClr val="accent1"/>
              </a:solidFill>
              <a:latin typeface="FZSJ-YANGGNH" panose="02010600010101010101" pitchFamily="2" charset="-122"/>
              <a:ea typeface="FZSJ-YANGGNH" panose="02010600010101010101" pitchFamily="2" charset="-122"/>
            </a:endParaRPr>
          </a:p>
        </p:txBody>
      </p:sp>
      <p:sp>
        <p:nvSpPr>
          <p:cNvPr id="67" name="矩形 1"/>
          <p:cNvSpPr>
            <a:spLocks noChangeArrowheads="1"/>
          </p:cNvSpPr>
          <p:nvPr/>
        </p:nvSpPr>
        <p:spPr bwMode="auto">
          <a:xfrm>
            <a:off x="1043608" y="2153579"/>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您的内容打在这里，或者通过复制您的文本后，在此框中选择您的内容打在这里，或者通过复制您的文本后，在此框中</a:t>
            </a:r>
          </a:p>
        </p:txBody>
      </p:sp>
      <p:sp>
        <p:nvSpPr>
          <p:cNvPr id="68" name="矩形 1"/>
          <p:cNvSpPr>
            <a:spLocks noChangeArrowheads="1"/>
          </p:cNvSpPr>
          <p:nvPr/>
        </p:nvSpPr>
        <p:spPr bwMode="auto">
          <a:xfrm>
            <a:off x="1043608" y="288567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您的内容打在这里，或者通过复制您的文本后，在此框中选择您的内容打在这里，或者通过复制您的文本后，在此框中</a:t>
            </a:r>
          </a:p>
        </p:txBody>
      </p:sp>
      <p:sp>
        <p:nvSpPr>
          <p:cNvPr id="69" name="矩形 1"/>
          <p:cNvSpPr>
            <a:spLocks noChangeArrowheads="1"/>
          </p:cNvSpPr>
          <p:nvPr/>
        </p:nvSpPr>
        <p:spPr bwMode="auto">
          <a:xfrm>
            <a:off x="1043608" y="3617770"/>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FZSJ-YANGGNH" panose="02010600010101010101" pitchFamily="2" charset="-122"/>
                <a:ea typeface="FZSJ-YANGGNH" panose="02010600010101010101" pitchFamily="2" charset="-122"/>
              </a:rPr>
              <a:t>您的内容打在这里，或者通过复制您的文本后，在此框中选择您的内容打在这里，或者通过复制您的文本后，在此框中</a:t>
            </a:r>
          </a:p>
        </p:txBody>
      </p:sp>
      <p:cxnSp>
        <p:nvCxnSpPr>
          <p:cNvPr id="70" name="直接连接符 69"/>
          <p:cNvCxnSpPr/>
          <p:nvPr/>
        </p:nvCxnSpPr>
        <p:spPr>
          <a:xfrm flipH="1">
            <a:off x="4662482" y="1636788"/>
            <a:ext cx="792087" cy="0"/>
          </a:xfrm>
          <a:prstGeom prst="line">
            <a:avLst/>
          </a:prstGeom>
          <a:ln w="6350">
            <a:solidFill>
              <a:schemeClr val="bg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a:off x="4662482" y="2363800"/>
            <a:ext cx="792087" cy="0"/>
          </a:xfrm>
          <a:prstGeom prst="line">
            <a:avLst/>
          </a:prstGeom>
          <a:ln w="6350">
            <a:solidFill>
              <a:schemeClr val="tx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4662482" y="3090812"/>
            <a:ext cx="792087" cy="0"/>
          </a:xfrm>
          <a:prstGeom prst="line">
            <a:avLst/>
          </a:prstGeom>
          <a:ln w="6350">
            <a:solidFill>
              <a:schemeClr val="bg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4662482" y="3817825"/>
            <a:ext cx="792087" cy="0"/>
          </a:xfrm>
          <a:prstGeom prst="line">
            <a:avLst/>
          </a:prstGeom>
          <a:ln w="6350">
            <a:solidFill>
              <a:schemeClr val="tx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9514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14:presetBounceEnd="50000">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14:bounceEnd="50000">
                                          <p:cBhvr additive="base">
                                            <p:cTn id="15" dur="300" fill="hold"/>
                                            <p:tgtEl>
                                              <p:spTgt spid="66"/>
                                            </p:tgtEl>
                                            <p:attrNameLst>
                                              <p:attrName>ppt_x</p:attrName>
                                            </p:attrNameLst>
                                          </p:cBhvr>
                                          <p:tavLst>
                                            <p:tav tm="0">
                                              <p:val>
                                                <p:strVal val="0-#ppt_w/2"/>
                                              </p:val>
                                            </p:tav>
                                            <p:tav tm="100000">
                                              <p:val>
                                                <p:strVal val="#ppt_x"/>
                                              </p:val>
                                            </p:tav>
                                          </p:tavLst>
                                        </p:anim>
                                        <p:anim calcmode="lin" valueType="num" p14:bounceEnd="50000">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14:presetBounceEnd="50000">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14:bounceEnd="50000">
                                          <p:cBhvr additive="base">
                                            <p:cTn id="23" dur="300" fill="hold"/>
                                            <p:tgtEl>
                                              <p:spTgt spid="67"/>
                                            </p:tgtEl>
                                            <p:attrNameLst>
                                              <p:attrName>ppt_x</p:attrName>
                                            </p:attrNameLst>
                                          </p:cBhvr>
                                          <p:tavLst>
                                            <p:tav tm="0">
                                              <p:val>
                                                <p:strVal val="0-#ppt_w/2"/>
                                              </p:val>
                                            </p:tav>
                                            <p:tav tm="100000">
                                              <p:val>
                                                <p:strVal val="#ppt_x"/>
                                              </p:val>
                                            </p:tav>
                                          </p:tavLst>
                                        </p:anim>
                                        <p:anim calcmode="lin" valueType="num" p14:bounceEnd="50000">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14:presetBounceEnd="50000">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14:bounceEnd="50000">
                                          <p:cBhvr additive="base">
                                            <p:cTn id="31" dur="300" fill="hold"/>
                                            <p:tgtEl>
                                              <p:spTgt spid="68"/>
                                            </p:tgtEl>
                                            <p:attrNameLst>
                                              <p:attrName>ppt_x</p:attrName>
                                            </p:attrNameLst>
                                          </p:cBhvr>
                                          <p:tavLst>
                                            <p:tav tm="0">
                                              <p:val>
                                                <p:strVal val="0-#ppt_w/2"/>
                                              </p:val>
                                            </p:tav>
                                            <p:tav tm="100000">
                                              <p:val>
                                                <p:strVal val="#ppt_x"/>
                                              </p:val>
                                            </p:tav>
                                          </p:tavLst>
                                        </p:anim>
                                        <p:anim calcmode="lin" valueType="num" p14:bounceEnd="50000">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14:presetBounceEnd="50000">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14:bounceEnd="50000">
                                          <p:cBhvr additive="base">
                                            <p:cTn id="39" dur="300" fill="hold"/>
                                            <p:tgtEl>
                                              <p:spTgt spid="69"/>
                                            </p:tgtEl>
                                            <p:attrNameLst>
                                              <p:attrName>ppt_x</p:attrName>
                                            </p:attrNameLst>
                                          </p:cBhvr>
                                          <p:tavLst>
                                            <p:tav tm="0">
                                              <p:val>
                                                <p:strVal val="0-#ppt_w/2"/>
                                              </p:val>
                                            </p:tav>
                                            <p:tav tm="100000">
                                              <p:val>
                                                <p:strVal val="#ppt_x"/>
                                              </p:val>
                                            </p:tav>
                                          </p:tavLst>
                                        </p:anim>
                                        <p:anim calcmode="lin" valueType="num" p14:bounceEnd="50000">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cBhvr additive="base">
                                            <p:cTn id="15" dur="300" fill="hold"/>
                                            <p:tgtEl>
                                              <p:spTgt spid="66"/>
                                            </p:tgtEl>
                                            <p:attrNameLst>
                                              <p:attrName>ppt_x</p:attrName>
                                            </p:attrNameLst>
                                          </p:cBhvr>
                                          <p:tavLst>
                                            <p:tav tm="0">
                                              <p:val>
                                                <p:strVal val="0-#ppt_w/2"/>
                                              </p:val>
                                            </p:tav>
                                            <p:tav tm="100000">
                                              <p:val>
                                                <p:strVal val="#ppt_x"/>
                                              </p:val>
                                            </p:tav>
                                          </p:tavLst>
                                        </p:anim>
                                        <p:anim calcmode="lin" valueType="num">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cBhvr additive="base">
                                            <p:cTn id="23" dur="300" fill="hold"/>
                                            <p:tgtEl>
                                              <p:spTgt spid="67"/>
                                            </p:tgtEl>
                                            <p:attrNameLst>
                                              <p:attrName>ppt_x</p:attrName>
                                            </p:attrNameLst>
                                          </p:cBhvr>
                                          <p:tavLst>
                                            <p:tav tm="0">
                                              <p:val>
                                                <p:strVal val="0-#ppt_w/2"/>
                                              </p:val>
                                            </p:tav>
                                            <p:tav tm="100000">
                                              <p:val>
                                                <p:strVal val="#ppt_x"/>
                                              </p:val>
                                            </p:tav>
                                          </p:tavLst>
                                        </p:anim>
                                        <p:anim calcmode="lin" valueType="num">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cBhvr additive="base">
                                            <p:cTn id="31" dur="300" fill="hold"/>
                                            <p:tgtEl>
                                              <p:spTgt spid="68"/>
                                            </p:tgtEl>
                                            <p:attrNameLst>
                                              <p:attrName>ppt_x</p:attrName>
                                            </p:attrNameLst>
                                          </p:cBhvr>
                                          <p:tavLst>
                                            <p:tav tm="0">
                                              <p:val>
                                                <p:strVal val="0-#ppt_w/2"/>
                                              </p:val>
                                            </p:tav>
                                            <p:tav tm="100000">
                                              <p:val>
                                                <p:strVal val="#ppt_x"/>
                                              </p:val>
                                            </p:tav>
                                          </p:tavLst>
                                        </p:anim>
                                        <p:anim calcmode="lin" valueType="num">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cBhvr additive="base">
                                            <p:cTn id="39" dur="300" fill="hold"/>
                                            <p:tgtEl>
                                              <p:spTgt spid="69"/>
                                            </p:tgtEl>
                                            <p:attrNameLst>
                                              <p:attrName>ppt_x</p:attrName>
                                            </p:attrNameLst>
                                          </p:cBhvr>
                                          <p:tavLst>
                                            <p:tav tm="0">
                                              <p:val>
                                                <p:strVal val="0-#ppt_w/2"/>
                                              </p:val>
                                            </p:tav>
                                            <p:tav tm="100000">
                                              <p:val>
                                                <p:strVal val="#ppt_x"/>
                                              </p:val>
                                            </p:tav>
                                          </p:tavLst>
                                        </p:anim>
                                        <p:anim calcmode="lin" valueType="num">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chemeClr val="bg1"/>
                </a:solidFill>
                <a:latin typeface="FZSJ-YANGGNH" panose="02010600010101010101" pitchFamily="2" charset="-122"/>
                <a:ea typeface="FZSJ-YANGGNH" panose="02010600010101010101" pitchFamily="2" charset="-122"/>
              </a:rPr>
              <a:t>标题内容</a:t>
            </a:r>
            <a:endParaRPr lang="en-US" altLang="zh-CN" sz="2800" dirty="0">
              <a:solidFill>
                <a:schemeClr val="bg1"/>
              </a:solidFill>
              <a:latin typeface="FZSJ-YANGGNH" panose="02010600010101010101" pitchFamily="2" charset="-122"/>
              <a:ea typeface="FZSJ-YANGGNH" panose="02010600010101010101" pitchFamily="2"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smtClean="0">
                <a:solidFill>
                  <a:schemeClr val="accent1"/>
                </a:solidFill>
                <a:latin typeface="FZSJ-YANGGNH" panose="02010600010101010101" pitchFamily="2" charset="-122"/>
                <a:ea typeface="FZSJ-YANGGNH" panose="02010600010101010101" pitchFamily="2" charset="-122"/>
              </a:rPr>
              <a:t>单击此处添加副标题</a:t>
            </a:r>
            <a:endParaRPr lang="en-US" altLang="zh-CN" sz="1500" dirty="0">
              <a:solidFill>
                <a:schemeClr val="accent1"/>
              </a:solidFill>
              <a:latin typeface="FZSJ-YANGGNH" panose="02010600010101010101" pitchFamily="2" charset="-122"/>
              <a:ea typeface="FZSJ-YANGGNH" panose="02010600010101010101" pitchFamily="2"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195"/>
          <p:cNvSpPr>
            <a:spLocks/>
          </p:cNvSpPr>
          <p:nvPr/>
        </p:nvSpPr>
        <p:spPr bwMode="auto">
          <a:xfrm flipH="1">
            <a:off x="1430705" y="1460654"/>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1"/>
          </a:solidFill>
          <a:ln w="6350">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nvGrpSpPr>
          <p:cNvPr id="9" name="组合 8"/>
          <p:cNvGrpSpPr/>
          <p:nvPr/>
        </p:nvGrpSpPr>
        <p:grpSpPr>
          <a:xfrm>
            <a:off x="3321767" y="1637798"/>
            <a:ext cx="1805385" cy="1193753"/>
            <a:chOff x="3286022" y="2159698"/>
            <a:chExt cx="2407180" cy="1591671"/>
          </a:xfrm>
          <a:solidFill>
            <a:schemeClr val="tx1"/>
          </a:solidFill>
        </p:grpSpPr>
        <p:grpSp>
          <p:nvGrpSpPr>
            <p:cNvPr id="10" name="组合 9"/>
            <p:cNvGrpSpPr/>
            <p:nvPr/>
          </p:nvGrpSpPr>
          <p:grpSpPr>
            <a:xfrm>
              <a:off x="3472842" y="2159698"/>
              <a:ext cx="2220360" cy="1591671"/>
              <a:chOff x="3472842" y="2159698"/>
              <a:chExt cx="2220360" cy="1591671"/>
            </a:xfrm>
            <a:grpFill/>
          </p:grpSpPr>
          <p:sp>
            <p:nvSpPr>
              <p:cNvPr id="12" name="Freeform 15"/>
              <p:cNvSpPr>
                <a:spLocks/>
              </p:cNvSpPr>
              <p:nvPr/>
            </p:nvSpPr>
            <p:spPr bwMode="auto">
              <a:xfrm>
                <a:off x="3472842" y="2159698"/>
                <a:ext cx="2220360" cy="1591671"/>
              </a:xfrm>
              <a:custGeom>
                <a:avLst/>
                <a:gdLst>
                  <a:gd name="T0" fmla="*/ 779 w 779"/>
                  <a:gd name="T1" fmla="*/ 314 h 558"/>
                  <a:gd name="T2" fmla="*/ 700 w 779"/>
                  <a:gd name="T3" fmla="*/ 401 h 558"/>
                  <a:gd name="T4" fmla="*/ 528 w 779"/>
                  <a:gd name="T5" fmla="*/ 513 h 558"/>
                  <a:gd name="T6" fmla="*/ 299 w 779"/>
                  <a:gd name="T7" fmla="*/ 548 h 558"/>
                  <a:gd name="T8" fmla="*/ 97 w 779"/>
                  <a:gd name="T9" fmla="*/ 449 h 558"/>
                  <a:gd name="T10" fmla="*/ 89 w 779"/>
                  <a:gd name="T11" fmla="*/ 441 h 558"/>
                  <a:gd name="T12" fmla="*/ 18 w 779"/>
                  <a:gd name="T13" fmla="*/ 313 h 558"/>
                  <a:gd name="T14" fmla="*/ 4 w 779"/>
                  <a:gd name="T15" fmla="*/ 176 h 558"/>
                  <a:gd name="T16" fmla="*/ 36 w 779"/>
                  <a:gd name="T17" fmla="*/ 67 h 558"/>
                  <a:gd name="T18" fmla="*/ 95 w 779"/>
                  <a:gd name="T19" fmla="*/ 10 h 558"/>
                  <a:gd name="T20" fmla="*/ 163 w 779"/>
                  <a:gd name="T21" fmla="*/ 5 h 558"/>
                  <a:gd name="T22" fmla="*/ 227 w 779"/>
                  <a:gd name="T23" fmla="*/ 31 h 558"/>
                  <a:gd name="T24" fmla="*/ 287 w 779"/>
                  <a:gd name="T25" fmla="*/ 72 h 558"/>
                  <a:gd name="T26" fmla="*/ 341 w 779"/>
                  <a:gd name="T27" fmla="*/ 121 h 558"/>
                  <a:gd name="T28" fmla="*/ 344 w 779"/>
                  <a:gd name="T29" fmla="*/ 126 h 558"/>
                  <a:gd name="T30" fmla="*/ 431 w 779"/>
                  <a:gd name="T31" fmla="*/ 219 h 558"/>
                  <a:gd name="T32" fmla="*/ 551 w 779"/>
                  <a:gd name="T33" fmla="*/ 296 h 558"/>
                  <a:gd name="T34" fmla="*/ 687 w 779"/>
                  <a:gd name="T35" fmla="*/ 323 h 558"/>
                  <a:gd name="T36" fmla="*/ 779 w 779"/>
                  <a:gd name="T37" fmla="*/ 3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9" h="558">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FZSJ-YANGGNH" panose="02010600010101010101" pitchFamily="2" charset="-122"/>
                  <a:ea typeface="FZSJ-YANGGNH" panose="02010600010101010101" pitchFamily="2" charset="-122"/>
                </a:endParaRPr>
              </a:p>
            </p:txBody>
          </p:sp>
          <p:sp>
            <p:nvSpPr>
              <p:cNvPr id="13" name="Freeform 26"/>
              <p:cNvSpPr>
                <a:spLocks noEditPoints="1"/>
              </p:cNvSpPr>
              <p:nvPr/>
            </p:nvSpPr>
            <p:spPr bwMode="auto">
              <a:xfrm>
                <a:off x="4085024" y="2495366"/>
                <a:ext cx="103177" cy="111431"/>
              </a:xfrm>
              <a:custGeom>
                <a:avLst/>
                <a:gdLst>
                  <a:gd name="T0" fmla="*/ 25 w 36"/>
                  <a:gd name="T1" fmla="*/ 0 h 39"/>
                  <a:gd name="T2" fmla="*/ 11 w 36"/>
                  <a:gd name="T3" fmla="*/ 0 h 39"/>
                  <a:gd name="T4" fmla="*/ 0 w 36"/>
                  <a:gd name="T5" fmla="*/ 11 h 39"/>
                  <a:gd name="T6" fmla="*/ 0 w 36"/>
                  <a:gd name="T7" fmla="*/ 28 h 39"/>
                  <a:gd name="T8" fmla="*/ 11 w 36"/>
                  <a:gd name="T9" fmla="*/ 39 h 39"/>
                  <a:gd name="T10" fmla="*/ 25 w 36"/>
                  <a:gd name="T11" fmla="*/ 39 h 39"/>
                  <a:gd name="T12" fmla="*/ 36 w 36"/>
                  <a:gd name="T13" fmla="*/ 28 h 39"/>
                  <a:gd name="T14" fmla="*/ 36 w 36"/>
                  <a:gd name="T15" fmla="*/ 11 h 39"/>
                  <a:gd name="T16" fmla="*/ 25 w 36"/>
                  <a:gd name="T17" fmla="*/ 0 h 39"/>
                  <a:gd name="T18" fmla="*/ 35 w 36"/>
                  <a:gd name="T19" fmla="*/ 27 h 39"/>
                  <a:gd name="T20" fmla="*/ 24 w 36"/>
                  <a:gd name="T21" fmla="*/ 37 h 39"/>
                  <a:gd name="T22" fmla="*/ 12 w 36"/>
                  <a:gd name="T23" fmla="*/ 37 h 39"/>
                  <a:gd name="T24" fmla="*/ 2 w 36"/>
                  <a:gd name="T25" fmla="*/ 27 h 39"/>
                  <a:gd name="T26" fmla="*/ 2 w 36"/>
                  <a:gd name="T27" fmla="*/ 12 h 39"/>
                  <a:gd name="T28" fmla="*/ 12 w 36"/>
                  <a:gd name="T29" fmla="*/ 2 h 39"/>
                  <a:gd name="T30" fmla="*/ 24 w 36"/>
                  <a:gd name="T31" fmla="*/ 2 h 39"/>
                  <a:gd name="T32" fmla="*/ 35 w 36"/>
                  <a:gd name="T33" fmla="*/ 12 h 39"/>
                  <a:gd name="T34" fmla="*/ 35 w 36"/>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9">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FZSJ-YANGGNH" panose="02010600010101010101" pitchFamily="2" charset="-122"/>
                  <a:ea typeface="FZSJ-YANGGNH" panose="02010600010101010101" pitchFamily="2" charset="-122"/>
                </a:endParaRPr>
              </a:p>
            </p:txBody>
          </p:sp>
        </p:grpSp>
        <p:sp>
          <p:nvSpPr>
            <p:cNvPr id="11" name="Oval 196"/>
            <p:cNvSpPr>
              <a:spLocks noChangeArrowheads="1"/>
            </p:cNvSpPr>
            <p:nvPr/>
          </p:nvSpPr>
          <p:spPr bwMode="auto">
            <a:xfrm rot="17758666" flipH="1">
              <a:off x="3296644" y="2202189"/>
              <a:ext cx="288700" cy="30994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sp>
        <p:nvSpPr>
          <p:cNvPr id="14" name="矩形 13"/>
          <p:cNvSpPr/>
          <p:nvPr/>
        </p:nvSpPr>
        <p:spPr>
          <a:xfrm>
            <a:off x="1690044" y="1117008"/>
            <a:ext cx="877163" cy="369332"/>
          </a:xfrm>
          <a:prstGeom prst="rect">
            <a:avLst/>
          </a:prstGeom>
          <a:ln>
            <a:noFill/>
          </a:ln>
        </p:spPr>
        <p:txBody>
          <a:bodyPr wrap="none">
            <a:spAutoFit/>
          </a:bodyPr>
          <a:lstStyle/>
          <a:p>
            <a:r>
              <a:rPr lang="zh-CN" altLang="en-US" sz="1800" dirty="0">
                <a:latin typeface="FZSJ-YANGGNH" panose="02010600010101010101" pitchFamily="2" charset="-122"/>
                <a:ea typeface="FZSJ-YANGGNH" panose="02010600010101010101" pitchFamily="2" charset="-122"/>
              </a:rPr>
              <a:t>小标题</a:t>
            </a:r>
          </a:p>
        </p:txBody>
      </p:sp>
      <p:sp>
        <p:nvSpPr>
          <p:cNvPr id="15" name="文本框 14"/>
          <p:cNvSpPr txBox="1"/>
          <p:nvPr/>
        </p:nvSpPr>
        <p:spPr>
          <a:xfrm>
            <a:off x="1519616" y="1538908"/>
            <a:ext cx="1416368" cy="404085"/>
          </a:xfrm>
          <a:prstGeom prst="rect">
            <a:avLst/>
          </a:prstGeom>
          <a:noFill/>
        </p:spPr>
        <p:txBody>
          <a:bodyPr wrap="square" rtlCol="0">
            <a:spAutoFit/>
          </a:bodyPr>
          <a:lstStyle/>
          <a:p>
            <a:r>
              <a:rPr lang="zh-CN" altLang="en-US" sz="1013" dirty="0">
                <a:solidFill>
                  <a:schemeClr val="accent1"/>
                </a:solidFill>
                <a:latin typeface="FZSJ-YANGGNH" panose="02010600010101010101" pitchFamily="2" charset="-122"/>
                <a:ea typeface="FZSJ-YANGGNH" panose="02010600010101010101" pitchFamily="2" charset="-122"/>
              </a:rPr>
              <a:t>此处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文字</a:t>
            </a:r>
            <a:r>
              <a:rPr lang="en-US" altLang="zh-CN" sz="1013" dirty="0">
                <a:solidFill>
                  <a:schemeClr val="accent1"/>
                </a:solidFill>
                <a:latin typeface="FZSJ-YANGGNH" panose="02010600010101010101" pitchFamily="2" charset="-122"/>
                <a:ea typeface="FZSJ-YANGGNH" panose="02010600010101010101" pitchFamily="2" charset="-122"/>
              </a:rPr>
              <a:t> </a:t>
            </a:r>
            <a:endParaRPr lang="zh-CN" altLang="en-US" sz="1013" dirty="0">
              <a:solidFill>
                <a:schemeClr val="accent1"/>
              </a:solidFill>
              <a:latin typeface="FZSJ-YANGGNH" panose="02010600010101010101" pitchFamily="2" charset="-122"/>
              <a:ea typeface="FZSJ-YANGGNH" panose="02010600010101010101" pitchFamily="2" charset="-122"/>
            </a:endParaRPr>
          </a:p>
        </p:txBody>
      </p:sp>
      <p:sp>
        <p:nvSpPr>
          <p:cNvPr id="16" name="Freeform 195"/>
          <p:cNvSpPr>
            <a:spLocks/>
          </p:cNvSpPr>
          <p:nvPr/>
        </p:nvSpPr>
        <p:spPr bwMode="auto">
          <a:xfrm flipH="1">
            <a:off x="1182940" y="2945359"/>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nvGrpSpPr>
          <p:cNvPr id="17" name="组合 16"/>
          <p:cNvGrpSpPr/>
          <p:nvPr/>
        </p:nvGrpSpPr>
        <p:grpSpPr>
          <a:xfrm>
            <a:off x="3187432" y="2818138"/>
            <a:ext cx="2055278" cy="1474394"/>
            <a:chOff x="3106909" y="3733485"/>
            <a:chExt cx="2740370" cy="1965858"/>
          </a:xfrm>
          <a:solidFill>
            <a:schemeClr val="tx2"/>
          </a:solidFill>
        </p:grpSpPr>
        <p:sp>
          <p:nvSpPr>
            <p:cNvPr id="18" name="Freeform 7"/>
            <p:cNvSpPr>
              <a:spLocks/>
            </p:cNvSpPr>
            <p:nvPr/>
          </p:nvSpPr>
          <p:spPr bwMode="auto">
            <a:xfrm>
              <a:off x="3106909" y="3733485"/>
              <a:ext cx="2740370" cy="1965858"/>
            </a:xfrm>
            <a:custGeom>
              <a:avLst/>
              <a:gdLst>
                <a:gd name="T0" fmla="*/ 961 w 961"/>
                <a:gd name="T1" fmla="*/ 388 h 689"/>
                <a:gd name="T2" fmla="*/ 863 w 961"/>
                <a:gd name="T3" fmla="*/ 495 h 689"/>
                <a:gd name="T4" fmla="*/ 652 w 961"/>
                <a:gd name="T5" fmla="*/ 633 h 689"/>
                <a:gd name="T6" fmla="*/ 368 w 961"/>
                <a:gd name="T7" fmla="*/ 676 h 689"/>
                <a:gd name="T8" fmla="*/ 119 w 961"/>
                <a:gd name="T9" fmla="*/ 554 h 689"/>
                <a:gd name="T10" fmla="*/ 109 w 961"/>
                <a:gd name="T11" fmla="*/ 544 h 689"/>
                <a:gd name="T12" fmla="*/ 22 w 961"/>
                <a:gd name="T13" fmla="*/ 386 h 689"/>
                <a:gd name="T14" fmla="*/ 5 w 961"/>
                <a:gd name="T15" fmla="*/ 217 h 689"/>
                <a:gd name="T16" fmla="*/ 44 w 961"/>
                <a:gd name="T17" fmla="*/ 83 h 689"/>
                <a:gd name="T18" fmla="*/ 117 w 961"/>
                <a:gd name="T19" fmla="*/ 12 h 689"/>
                <a:gd name="T20" fmla="*/ 201 w 961"/>
                <a:gd name="T21" fmla="*/ 6 h 689"/>
                <a:gd name="T22" fmla="*/ 280 w 961"/>
                <a:gd name="T23" fmla="*/ 39 h 689"/>
                <a:gd name="T24" fmla="*/ 354 w 961"/>
                <a:gd name="T25" fmla="*/ 89 h 689"/>
                <a:gd name="T26" fmla="*/ 420 w 961"/>
                <a:gd name="T27" fmla="*/ 150 h 689"/>
                <a:gd name="T28" fmla="*/ 425 w 961"/>
                <a:gd name="T29" fmla="*/ 155 h 689"/>
                <a:gd name="T30" fmla="*/ 531 w 961"/>
                <a:gd name="T31" fmla="*/ 270 h 689"/>
                <a:gd name="T32" fmla="*/ 679 w 961"/>
                <a:gd name="T33" fmla="*/ 366 h 689"/>
                <a:gd name="T34" fmla="*/ 848 w 961"/>
                <a:gd name="T35" fmla="*/ 399 h 689"/>
                <a:gd name="T36" fmla="*/ 961 w 961"/>
                <a:gd name="T37" fmla="*/ 38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1" h="689">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FZSJ-YANGGNH" panose="02010600010101010101" pitchFamily="2" charset="-122"/>
                <a:ea typeface="FZSJ-YANGGNH" panose="02010600010101010101" pitchFamily="2" charset="-122"/>
              </a:endParaRPr>
            </a:p>
          </p:txBody>
        </p:sp>
        <p:sp>
          <p:nvSpPr>
            <p:cNvPr id="19" name="Freeform 23"/>
            <p:cNvSpPr>
              <a:spLocks/>
            </p:cNvSpPr>
            <p:nvPr/>
          </p:nvSpPr>
          <p:spPr bwMode="auto">
            <a:xfrm>
              <a:off x="3675069" y="4055396"/>
              <a:ext cx="127939" cy="129314"/>
            </a:xfrm>
            <a:custGeom>
              <a:avLst/>
              <a:gdLst>
                <a:gd name="T0" fmla="*/ 11 w 45"/>
                <a:gd name="T1" fmla="*/ 42 h 45"/>
                <a:gd name="T2" fmla="*/ 8 w 45"/>
                <a:gd name="T3" fmla="*/ 45 h 45"/>
                <a:gd name="T4" fmla="*/ 37 w 45"/>
                <a:gd name="T5" fmla="*/ 45 h 45"/>
                <a:gd name="T6" fmla="*/ 33 w 45"/>
                <a:gd name="T7" fmla="*/ 42 h 45"/>
                <a:gd name="T8" fmla="*/ 45 w 45"/>
                <a:gd name="T9" fmla="*/ 22 h 45"/>
                <a:gd name="T10" fmla="*/ 22 w 45"/>
                <a:gd name="T11" fmla="*/ 0 h 45"/>
                <a:gd name="T12" fmla="*/ 0 w 45"/>
                <a:gd name="T13" fmla="*/ 22 h 45"/>
                <a:gd name="T14" fmla="*/ 11 w 45"/>
                <a:gd name="T15" fmla="*/ 4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FZSJ-YANGGNH" panose="02010600010101010101" pitchFamily="2" charset="-122"/>
                <a:ea typeface="FZSJ-YANGGNH" panose="02010600010101010101" pitchFamily="2" charset="-122"/>
              </a:endParaRPr>
            </a:p>
          </p:txBody>
        </p:sp>
      </p:grpSp>
      <p:sp>
        <p:nvSpPr>
          <p:cNvPr id="20" name="Oval 196"/>
          <p:cNvSpPr>
            <a:spLocks noChangeArrowheads="1"/>
          </p:cNvSpPr>
          <p:nvPr/>
        </p:nvSpPr>
        <p:spPr bwMode="auto">
          <a:xfrm rot="16850328" flipH="1">
            <a:off x="3045271" y="3166322"/>
            <a:ext cx="176825" cy="189836"/>
          </a:xfrm>
          <a:prstGeom prst="triangle">
            <a:avLst/>
          </a:pr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sp>
        <p:nvSpPr>
          <p:cNvPr id="21" name="矩形 20"/>
          <p:cNvSpPr/>
          <p:nvPr/>
        </p:nvSpPr>
        <p:spPr>
          <a:xfrm>
            <a:off x="1350637" y="2621673"/>
            <a:ext cx="877163" cy="369332"/>
          </a:xfrm>
          <a:prstGeom prst="rect">
            <a:avLst/>
          </a:prstGeom>
          <a:ln>
            <a:noFill/>
          </a:ln>
        </p:spPr>
        <p:txBody>
          <a:bodyPr wrap="none">
            <a:spAutoFit/>
          </a:bodyPr>
          <a:lstStyle/>
          <a:p>
            <a:r>
              <a:rPr lang="zh-CN" altLang="en-US" sz="1800" dirty="0">
                <a:solidFill>
                  <a:schemeClr val="tx2"/>
                </a:solidFill>
                <a:latin typeface="FZSJ-YANGGNH" panose="02010600010101010101" pitchFamily="2" charset="-122"/>
                <a:ea typeface="FZSJ-YANGGNH" panose="02010600010101010101" pitchFamily="2" charset="-122"/>
              </a:rPr>
              <a:t>小标题</a:t>
            </a:r>
          </a:p>
        </p:txBody>
      </p:sp>
      <p:sp>
        <p:nvSpPr>
          <p:cNvPr id="22" name="文本框 21"/>
          <p:cNvSpPr txBox="1"/>
          <p:nvPr/>
        </p:nvSpPr>
        <p:spPr>
          <a:xfrm>
            <a:off x="1321937" y="3058150"/>
            <a:ext cx="1416368" cy="404085"/>
          </a:xfrm>
          <a:prstGeom prst="rect">
            <a:avLst/>
          </a:prstGeom>
          <a:noFill/>
        </p:spPr>
        <p:txBody>
          <a:bodyPr wrap="square" rtlCol="0">
            <a:spAutoFit/>
          </a:bodyPr>
          <a:lstStyle/>
          <a:p>
            <a:r>
              <a:rPr lang="zh-CN" altLang="en-US" sz="1013" dirty="0">
                <a:solidFill>
                  <a:schemeClr val="accent1"/>
                </a:solidFill>
                <a:latin typeface="FZSJ-YANGGNH" panose="02010600010101010101" pitchFamily="2" charset="-122"/>
                <a:ea typeface="FZSJ-YANGGNH" panose="02010600010101010101" pitchFamily="2" charset="-122"/>
              </a:rPr>
              <a:t>此处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文字</a:t>
            </a:r>
            <a:r>
              <a:rPr lang="en-US" altLang="zh-CN" sz="1013" dirty="0">
                <a:solidFill>
                  <a:schemeClr val="accent1"/>
                </a:solidFill>
                <a:latin typeface="FZSJ-YANGGNH" panose="02010600010101010101" pitchFamily="2" charset="-122"/>
                <a:ea typeface="FZSJ-YANGGNH" panose="02010600010101010101" pitchFamily="2" charset="-122"/>
              </a:rPr>
              <a:t>  </a:t>
            </a:r>
            <a:endParaRPr lang="zh-CN" altLang="en-US" sz="1013" dirty="0">
              <a:solidFill>
                <a:schemeClr val="accent1"/>
              </a:solidFill>
              <a:latin typeface="FZSJ-YANGGNH" panose="02010600010101010101" pitchFamily="2" charset="-122"/>
              <a:ea typeface="FZSJ-YANGGNH" panose="02010600010101010101" pitchFamily="2" charset="-122"/>
            </a:endParaRPr>
          </a:p>
        </p:txBody>
      </p:sp>
      <p:sp>
        <p:nvSpPr>
          <p:cNvPr id="23" name="Freeform 195"/>
          <p:cNvSpPr>
            <a:spLocks/>
          </p:cNvSpPr>
          <p:nvPr/>
        </p:nvSpPr>
        <p:spPr bwMode="auto">
          <a:xfrm flipV="1">
            <a:off x="6093084" y="2621674"/>
            <a:ext cx="1967472" cy="22850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2">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nvGrpSpPr>
          <p:cNvPr id="24" name="组合 23"/>
          <p:cNvGrpSpPr/>
          <p:nvPr/>
        </p:nvGrpSpPr>
        <p:grpSpPr>
          <a:xfrm>
            <a:off x="4128402" y="2227968"/>
            <a:ext cx="1999911" cy="1279390"/>
            <a:chOff x="4361535" y="2946589"/>
            <a:chExt cx="2666548" cy="1705852"/>
          </a:xfrm>
          <a:solidFill>
            <a:schemeClr val="bg2"/>
          </a:solidFill>
        </p:grpSpPr>
        <p:sp>
          <p:nvSpPr>
            <p:cNvPr id="25" name="Freeform 11"/>
            <p:cNvSpPr>
              <a:spLocks/>
            </p:cNvSpPr>
            <p:nvPr/>
          </p:nvSpPr>
          <p:spPr bwMode="auto">
            <a:xfrm>
              <a:off x="4361535" y="2946589"/>
              <a:ext cx="2378565" cy="1705852"/>
            </a:xfrm>
            <a:custGeom>
              <a:avLst/>
              <a:gdLst>
                <a:gd name="T0" fmla="*/ 0 w 834"/>
                <a:gd name="T1" fmla="*/ 336 h 598"/>
                <a:gd name="T2" fmla="*/ 85 w 834"/>
                <a:gd name="T3" fmla="*/ 430 h 598"/>
                <a:gd name="T4" fmla="*/ 269 w 834"/>
                <a:gd name="T5" fmla="*/ 550 h 598"/>
                <a:gd name="T6" fmla="*/ 514 w 834"/>
                <a:gd name="T7" fmla="*/ 587 h 598"/>
                <a:gd name="T8" fmla="*/ 731 w 834"/>
                <a:gd name="T9" fmla="*/ 481 h 598"/>
                <a:gd name="T10" fmla="*/ 739 w 834"/>
                <a:gd name="T11" fmla="*/ 472 h 598"/>
                <a:gd name="T12" fmla="*/ 815 w 834"/>
                <a:gd name="T13" fmla="*/ 335 h 598"/>
                <a:gd name="T14" fmla="*/ 829 w 834"/>
                <a:gd name="T15" fmla="*/ 188 h 598"/>
                <a:gd name="T16" fmla="*/ 796 w 834"/>
                <a:gd name="T17" fmla="*/ 72 h 598"/>
                <a:gd name="T18" fmla="*/ 732 w 834"/>
                <a:gd name="T19" fmla="*/ 11 h 598"/>
                <a:gd name="T20" fmla="*/ 660 w 834"/>
                <a:gd name="T21" fmla="*/ 6 h 598"/>
                <a:gd name="T22" fmla="*/ 590 w 834"/>
                <a:gd name="T23" fmla="*/ 34 h 598"/>
                <a:gd name="T24" fmla="*/ 527 w 834"/>
                <a:gd name="T25" fmla="*/ 77 h 598"/>
                <a:gd name="T26" fmla="*/ 469 w 834"/>
                <a:gd name="T27" fmla="*/ 130 h 598"/>
                <a:gd name="T28" fmla="*/ 465 w 834"/>
                <a:gd name="T29" fmla="*/ 135 h 598"/>
                <a:gd name="T30" fmla="*/ 373 w 834"/>
                <a:gd name="T31" fmla="*/ 235 h 598"/>
                <a:gd name="T32" fmla="*/ 244 w 834"/>
                <a:gd name="T33" fmla="*/ 317 h 598"/>
                <a:gd name="T34" fmla="*/ 98 w 834"/>
                <a:gd name="T35" fmla="*/ 346 h 598"/>
                <a:gd name="T36" fmla="*/ 0 w 834"/>
                <a:gd name="T37" fmla="*/ 33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4" h="598">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FZSJ-YANGGNH" panose="02010600010101010101" pitchFamily="2" charset="-122"/>
                <a:ea typeface="FZSJ-YANGGNH" panose="02010600010101010101" pitchFamily="2" charset="-122"/>
              </a:endParaRPr>
            </a:p>
          </p:txBody>
        </p:sp>
        <p:sp>
          <p:nvSpPr>
            <p:cNvPr id="26" name="Oval 196"/>
            <p:cNvSpPr>
              <a:spLocks noChangeArrowheads="1"/>
            </p:cNvSpPr>
            <p:nvPr/>
          </p:nvSpPr>
          <p:spPr bwMode="auto">
            <a:xfrm rot="5080281">
              <a:off x="6710719" y="3312850"/>
              <a:ext cx="317364" cy="317364"/>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sp>
        <p:nvSpPr>
          <p:cNvPr id="27" name="矩形 26"/>
          <p:cNvSpPr/>
          <p:nvPr/>
        </p:nvSpPr>
        <p:spPr>
          <a:xfrm>
            <a:off x="6369107" y="2457068"/>
            <a:ext cx="877163" cy="369332"/>
          </a:xfrm>
          <a:prstGeom prst="rect">
            <a:avLst/>
          </a:prstGeom>
          <a:ln>
            <a:noFill/>
          </a:ln>
        </p:spPr>
        <p:txBody>
          <a:bodyPr wrap="none">
            <a:spAutoFit/>
          </a:bodyPr>
          <a:lstStyle/>
          <a:p>
            <a:r>
              <a:rPr lang="zh-CN" altLang="en-US" sz="1800" dirty="0">
                <a:solidFill>
                  <a:schemeClr val="bg2"/>
                </a:solidFill>
                <a:latin typeface="FZSJ-YANGGNH" panose="02010600010101010101" pitchFamily="2" charset="-122"/>
                <a:ea typeface="FZSJ-YANGGNH" panose="02010600010101010101" pitchFamily="2" charset="-122"/>
              </a:rPr>
              <a:t>小标题</a:t>
            </a:r>
          </a:p>
        </p:txBody>
      </p:sp>
      <p:sp>
        <p:nvSpPr>
          <p:cNvPr id="28" name="文本框 27"/>
          <p:cNvSpPr txBox="1"/>
          <p:nvPr/>
        </p:nvSpPr>
        <p:spPr>
          <a:xfrm>
            <a:off x="6376754" y="2961840"/>
            <a:ext cx="1416368" cy="404085"/>
          </a:xfrm>
          <a:prstGeom prst="rect">
            <a:avLst/>
          </a:prstGeom>
          <a:noFill/>
        </p:spPr>
        <p:txBody>
          <a:bodyPr wrap="square" rtlCol="0">
            <a:spAutoFit/>
          </a:bodyPr>
          <a:lstStyle/>
          <a:p>
            <a:r>
              <a:rPr lang="zh-CN" altLang="en-US" sz="1013" dirty="0">
                <a:solidFill>
                  <a:schemeClr val="accent1"/>
                </a:solidFill>
                <a:latin typeface="FZSJ-YANGGNH" panose="02010600010101010101" pitchFamily="2" charset="-122"/>
                <a:ea typeface="FZSJ-YANGGNH" panose="02010600010101010101" pitchFamily="2" charset="-122"/>
              </a:rPr>
              <a:t>此处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文字</a:t>
            </a:r>
            <a:r>
              <a:rPr lang="en-US" altLang="zh-CN" sz="1013" dirty="0">
                <a:solidFill>
                  <a:schemeClr val="accent1"/>
                </a:solidFill>
                <a:latin typeface="FZSJ-YANGGNH" panose="02010600010101010101" pitchFamily="2" charset="-122"/>
                <a:ea typeface="FZSJ-YANGGNH" panose="02010600010101010101" pitchFamily="2" charset="-122"/>
              </a:rPr>
              <a:t> </a:t>
            </a:r>
            <a:endParaRPr lang="zh-CN" altLang="en-US" sz="1013" dirty="0">
              <a:solidFill>
                <a:schemeClr val="accent1"/>
              </a:solidFill>
              <a:latin typeface="FZSJ-YANGGNH" panose="02010600010101010101" pitchFamily="2" charset="-122"/>
              <a:ea typeface="FZSJ-YANGGNH" panose="02010600010101010101" pitchFamily="2" charset="-122"/>
            </a:endParaRPr>
          </a:p>
        </p:txBody>
      </p:sp>
      <p:sp>
        <p:nvSpPr>
          <p:cNvPr id="29" name="Freeform 195"/>
          <p:cNvSpPr>
            <a:spLocks/>
          </p:cNvSpPr>
          <p:nvPr/>
        </p:nvSpPr>
        <p:spPr bwMode="auto">
          <a:xfrm>
            <a:off x="5794836" y="1049986"/>
            <a:ext cx="2017754"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nvGrpSpPr>
          <p:cNvPr id="30" name="组合 29"/>
          <p:cNvGrpSpPr/>
          <p:nvPr/>
        </p:nvGrpSpPr>
        <p:grpSpPr>
          <a:xfrm>
            <a:off x="4267690" y="1203424"/>
            <a:ext cx="1555664" cy="998750"/>
            <a:chOff x="4547254" y="1580534"/>
            <a:chExt cx="2074218" cy="1331666"/>
          </a:xfrm>
          <a:solidFill>
            <a:schemeClr val="bg1"/>
          </a:solidFill>
        </p:grpSpPr>
        <p:sp>
          <p:nvSpPr>
            <p:cNvPr id="31" name="Freeform 19"/>
            <p:cNvSpPr>
              <a:spLocks/>
            </p:cNvSpPr>
            <p:nvPr/>
          </p:nvSpPr>
          <p:spPr bwMode="auto">
            <a:xfrm>
              <a:off x="4547254" y="1580534"/>
              <a:ext cx="1857179" cy="1331666"/>
            </a:xfrm>
            <a:custGeom>
              <a:avLst/>
              <a:gdLst>
                <a:gd name="T0" fmla="*/ 0 w 651"/>
                <a:gd name="T1" fmla="*/ 263 h 467"/>
                <a:gd name="T2" fmla="*/ 66 w 651"/>
                <a:gd name="T3" fmla="*/ 336 h 467"/>
                <a:gd name="T4" fmla="*/ 209 w 651"/>
                <a:gd name="T5" fmla="*/ 430 h 467"/>
                <a:gd name="T6" fmla="*/ 401 w 651"/>
                <a:gd name="T7" fmla="*/ 459 h 467"/>
                <a:gd name="T8" fmla="*/ 570 w 651"/>
                <a:gd name="T9" fmla="*/ 376 h 467"/>
                <a:gd name="T10" fmla="*/ 577 w 651"/>
                <a:gd name="T11" fmla="*/ 369 h 467"/>
                <a:gd name="T12" fmla="*/ 636 w 651"/>
                <a:gd name="T13" fmla="*/ 262 h 467"/>
                <a:gd name="T14" fmla="*/ 648 w 651"/>
                <a:gd name="T15" fmla="*/ 147 h 467"/>
                <a:gd name="T16" fmla="*/ 621 w 651"/>
                <a:gd name="T17" fmla="*/ 57 h 467"/>
                <a:gd name="T18" fmla="*/ 572 w 651"/>
                <a:gd name="T19" fmla="*/ 9 h 467"/>
                <a:gd name="T20" fmla="*/ 515 w 651"/>
                <a:gd name="T21" fmla="*/ 5 h 467"/>
                <a:gd name="T22" fmla="*/ 461 w 651"/>
                <a:gd name="T23" fmla="*/ 27 h 467"/>
                <a:gd name="T24" fmla="*/ 411 w 651"/>
                <a:gd name="T25" fmla="*/ 60 h 467"/>
                <a:gd name="T26" fmla="*/ 366 w 651"/>
                <a:gd name="T27" fmla="*/ 102 h 467"/>
                <a:gd name="T28" fmla="*/ 363 w 651"/>
                <a:gd name="T29" fmla="*/ 106 h 467"/>
                <a:gd name="T30" fmla="*/ 291 w 651"/>
                <a:gd name="T31" fmla="*/ 183 h 467"/>
                <a:gd name="T32" fmla="*/ 191 w 651"/>
                <a:gd name="T33" fmla="*/ 248 h 467"/>
                <a:gd name="T34" fmla="*/ 76 w 651"/>
                <a:gd name="T35" fmla="*/ 271 h 467"/>
                <a:gd name="T36" fmla="*/ 0 w 651"/>
                <a:gd name="T37" fmla="*/ 2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1" h="467">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FZSJ-YANGGNH" panose="02010600010101010101" pitchFamily="2" charset="-122"/>
                <a:ea typeface="FZSJ-YANGGNH" panose="02010600010101010101" pitchFamily="2" charset="-122"/>
              </a:endParaRPr>
            </a:p>
          </p:txBody>
        </p:sp>
        <p:sp>
          <p:nvSpPr>
            <p:cNvPr id="32" name="Oval 196"/>
            <p:cNvSpPr>
              <a:spLocks noChangeArrowheads="1"/>
            </p:cNvSpPr>
            <p:nvPr/>
          </p:nvSpPr>
          <p:spPr bwMode="auto">
            <a:xfrm rot="4258904">
              <a:off x="6338179" y="1679097"/>
              <a:ext cx="283293" cy="28329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FZSJ-YANGGNH" panose="02010600010101010101" pitchFamily="2" charset="-122"/>
                <a:ea typeface="FZSJ-YANGGNH" panose="02010600010101010101" pitchFamily="2" charset="-122"/>
              </a:endParaRPr>
            </a:p>
          </p:txBody>
        </p:sp>
      </p:grpSp>
      <p:sp>
        <p:nvSpPr>
          <p:cNvPr id="33" name="文本框 32"/>
          <p:cNvSpPr txBox="1"/>
          <p:nvPr/>
        </p:nvSpPr>
        <p:spPr>
          <a:xfrm>
            <a:off x="6109349" y="1166959"/>
            <a:ext cx="1416368" cy="559961"/>
          </a:xfrm>
          <a:prstGeom prst="rect">
            <a:avLst/>
          </a:prstGeom>
          <a:noFill/>
        </p:spPr>
        <p:txBody>
          <a:bodyPr wrap="square" rtlCol="0">
            <a:spAutoFit/>
          </a:bodyPr>
          <a:lstStyle/>
          <a:p>
            <a:r>
              <a:rPr lang="zh-CN" altLang="en-US" sz="1013" dirty="0">
                <a:solidFill>
                  <a:schemeClr val="accent1"/>
                </a:solidFill>
                <a:latin typeface="FZSJ-YANGGNH" panose="02010600010101010101" pitchFamily="2" charset="-122"/>
                <a:ea typeface="FZSJ-YANGGNH" panose="02010600010101010101" pitchFamily="2" charset="-122"/>
              </a:rPr>
              <a:t>此处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a:t>
            </a:r>
            <a:r>
              <a:rPr lang="zh-CN" altLang="en-US" sz="1013" dirty="0" smtClean="0">
                <a:solidFill>
                  <a:schemeClr val="accent1"/>
                </a:solidFill>
                <a:latin typeface="FZSJ-YANGGNH" panose="02010600010101010101" pitchFamily="2" charset="-122"/>
                <a:ea typeface="FZSJ-YANGGNH" panose="02010600010101010101" pitchFamily="2" charset="-122"/>
              </a:rPr>
              <a:t>文字此处</a:t>
            </a:r>
            <a:r>
              <a:rPr lang="zh-CN" altLang="en-US" sz="1013" dirty="0">
                <a:solidFill>
                  <a:schemeClr val="accent1"/>
                </a:solidFill>
                <a:latin typeface="FZSJ-YANGGNH" panose="02010600010101010101" pitchFamily="2" charset="-122"/>
                <a:ea typeface="FZSJ-YANGGNH" panose="02010600010101010101" pitchFamily="2" charset="-122"/>
              </a:rPr>
              <a:t>输入文字</a:t>
            </a:r>
            <a:r>
              <a:rPr lang="en-US" altLang="zh-CN" sz="1013" dirty="0">
                <a:solidFill>
                  <a:schemeClr val="accent1"/>
                </a:solidFill>
                <a:latin typeface="FZSJ-YANGGNH" panose="02010600010101010101" pitchFamily="2" charset="-122"/>
                <a:ea typeface="FZSJ-YANGGNH" panose="02010600010101010101" pitchFamily="2" charset="-122"/>
              </a:rPr>
              <a:t> </a:t>
            </a:r>
            <a:endParaRPr lang="zh-CN" altLang="en-US" sz="1013" dirty="0">
              <a:solidFill>
                <a:schemeClr val="accent1"/>
              </a:solidFill>
              <a:latin typeface="FZSJ-YANGGNH" panose="02010600010101010101" pitchFamily="2" charset="-122"/>
              <a:ea typeface="FZSJ-YANGGNH" panose="02010600010101010101" pitchFamily="2" charset="-122"/>
            </a:endParaRPr>
          </a:p>
          <a:p>
            <a:r>
              <a:rPr lang="en-US" altLang="zh-CN" sz="1013" dirty="0">
                <a:solidFill>
                  <a:schemeClr val="accent1"/>
                </a:solidFill>
                <a:latin typeface="FZSJ-YANGGNH" panose="02010600010101010101" pitchFamily="2" charset="-122"/>
                <a:ea typeface="FZSJ-YANGGNH" panose="02010600010101010101" pitchFamily="2" charset="-122"/>
              </a:rPr>
              <a:t> </a:t>
            </a:r>
            <a:endParaRPr lang="zh-CN" altLang="en-US" sz="1013" dirty="0">
              <a:solidFill>
                <a:schemeClr val="accent1"/>
              </a:solidFill>
              <a:latin typeface="FZSJ-YANGGNH" panose="02010600010101010101" pitchFamily="2" charset="-122"/>
              <a:ea typeface="FZSJ-YANGGNH" panose="02010600010101010101" pitchFamily="2" charset="-122"/>
            </a:endParaRPr>
          </a:p>
        </p:txBody>
      </p:sp>
      <p:sp>
        <p:nvSpPr>
          <p:cNvPr id="34" name="矩形 33"/>
          <p:cNvSpPr/>
          <p:nvPr/>
        </p:nvSpPr>
        <p:spPr>
          <a:xfrm>
            <a:off x="6104561" y="699542"/>
            <a:ext cx="877163" cy="369332"/>
          </a:xfrm>
          <a:prstGeom prst="rect">
            <a:avLst/>
          </a:prstGeom>
          <a:ln>
            <a:noFill/>
          </a:ln>
        </p:spPr>
        <p:txBody>
          <a:bodyPr wrap="none">
            <a:spAutoFit/>
          </a:bodyPr>
          <a:lstStyle/>
          <a:p>
            <a:r>
              <a:rPr lang="zh-CN" altLang="en-US" sz="1800" dirty="0">
                <a:solidFill>
                  <a:schemeClr val="bg1"/>
                </a:solidFill>
                <a:latin typeface="FZSJ-YANGGNH" panose="02010600010101010101" pitchFamily="2" charset="-122"/>
                <a:ea typeface="FZSJ-YANGGNH" panose="02010600010101010101" pitchFamily="2" charset="-122"/>
              </a:rPr>
              <a:t>小标题</a:t>
            </a:r>
          </a:p>
        </p:txBody>
      </p:sp>
    </p:spTree>
    <p:extLst>
      <p:ext uri="{BB962C8B-B14F-4D97-AF65-F5344CB8AC3E}">
        <p14:creationId xmlns:p14="http://schemas.microsoft.com/office/powerpoint/2010/main" val="56644048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1000"/>
                                        <p:tgtEl>
                                          <p:spTgt spid="29"/>
                                        </p:tgtEl>
                                      </p:cBhvr>
                                    </p:animEffect>
                                    <p:anim calcmode="lin" valueType="num">
                                      <p:cBhvr>
                                        <p:cTn id="33" dur="1000" fill="hold"/>
                                        <p:tgtEl>
                                          <p:spTgt spid="29"/>
                                        </p:tgtEl>
                                        <p:attrNameLst>
                                          <p:attrName>ppt_x</p:attrName>
                                        </p:attrNameLst>
                                      </p:cBhvr>
                                      <p:tavLst>
                                        <p:tav tm="0">
                                          <p:val>
                                            <p:strVal val="#ppt_x"/>
                                          </p:val>
                                        </p:tav>
                                        <p:tav tm="100000">
                                          <p:val>
                                            <p:strVal val="#ppt_x"/>
                                          </p:val>
                                        </p:tav>
                                      </p:tavLst>
                                    </p:anim>
                                    <p:anim calcmode="lin" valueType="num">
                                      <p:cBhvr>
                                        <p:cTn id="34" dur="1000" fill="hold"/>
                                        <p:tgtEl>
                                          <p:spTgt spid="2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anim calcmode="lin" valueType="num">
                                      <p:cBhvr>
                                        <p:cTn id="38" dur="1000" fill="hold"/>
                                        <p:tgtEl>
                                          <p:spTgt spid="33"/>
                                        </p:tgtEl>
                                        <p:attrNameLst>
                                          <p:attrName>ppt_x</p:attrName>
                                        </p:attrNameLst>
                                      </p:cBhvr>
                                      <p:tavLst>
                                        <p:tav tm="0">
                                          <p:val>
                                            <p:strVal val="#ppt_x"/>
                                          </p:val>
                                        </p:tav>
                                        <p:tav tm="100000">
                                          <p:val>
                                            <p:strVal val="#ppt_x"/>
                                          </p:val>
                                        </p:tav>
                                      </p:tavLst>
                                    </p:anim>
                                    <p:anim calcmode="lin" valueType="num">
                                      <p:cBhvr>
                                        <p:cTn id="39" dur="1000" fill="hold"/>
                                        <p:tgtEl>
                                          <p:spTgt spid="3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1000"/>
                                        <p:tgtEl>
                                          <p:spTgt spid="34"/>
                                        </p:tgtEl>
                                      </p:cBhvr>
                                    </p:animEffect>
                                    <p:anim calcmode="lin" valueType="num">
                                      <p:cBhvr>
                                        <p:cTn id="43" dur="1000" fill="hold"/>
                                        <p:tgtEl>
                                          <p:spTgt spid="34"/>
                                        </p:tgtEl>
                                        <p:attrNameLst>
                                          <p:attrName>ppt_x</p:attrName>
                                        </p:attrNameLst>
                                      </p:cBhvr>
                                      <p:tavLst>
                                        <p:tav tm="0">
                                          <p:val>
                                            <p:strVal val="#ppt_x"/>
                                          </p:val>
                                        </p:tav>
                                        <p:tav tm="100000">
                                          <p:val>
                                            <p:strVal val="#ppt_x"/>
                                          </p:val>
                                        </p:tav>
                                      </p:tavLst>
                                    </p:anim>
                                    <p:anim calcmode="lin" valueType="num">
                                      <p:cBhvr>
                                        <p:cTn id="4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1000"/>
                                        <p:tgtEl>
                                          <p:spTgt spid="8"/>
                                        </p:tgtEl>
                                      </p:cBhvr>
                                    </p:animEffect>
                                    <p:anim calcmode="lin" valueType="num">
                                      <p:cBhvr>
                                        <p:cTn id="50" dur="1000" fill="hold"/>
                                        <p:tgtEl>
                                          <p:spTgt spid="8"/>
                                        </p:tgtEl>
                                        <p:attrNameLst>
                                          <p:attrName>ppt_x</p:attrName>
                                        </p:attrNameLst>
                                      </p:cBhvr>
                                      <p:tavLst>
                                        <p:tav tm="0">
                                          <p:val>
                                            <p:strVal val="#ppt_x"/>
                                          </p:val>
                                        </p:tav>
                                        <p:tav tm="100000">
                                          <p:val>
                                            <p:strVal val="#ppt_x"/>
                                          </p:val>
                                        </p:tav>
                                      </p:tavLst>
                                    </p:anim>
                                    <p:anim calcmode="lin" valueType="num">
                                      <p:cBhvr>
                                        <p:cTn id="51" dur="1000" fill="hold"/>
                                        <p:tgtEl>
                                          <p:spTgt spid="8"/>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1000"/>
                                        <p:tgtEl>
                                          <p:spTgt spid="14"/>
                                        </p:tgtEl>
                                      </p:cBhvr>
                                    </p:animEffect>
                                    <p:anim calcmode="lin" valueType="num">
                                      <p:cBhvr>
                                        <p:cTn id="55" dur="1000" fill="hold"/>
                                        <p:tgtEl>
                                          <p:spTgt spid="14"/>
                                        </p:tgtEl>
                                        <p:attrNameLst>
                                          <p:attrName>ppt_x</p:attrName>
                                        </p:attrNameLst>
                                      </p:cBhvr>
                                      <p:tavLst>
                                        <p:tav tm="0">
                                          <p:val>
                                            <p:strVal val="#ppt_x"/>
                                          </p:val>
                                        </p:tav>
                                        <p:tav tm="100000">
                                          <p:val>
                                            <p:strVal val="#ppt_x"/>
                                          </p:val>
                                        </p:tav>
                                      </p:tavLst>
                                    </p:anim>
                                    <p:anim calcmode="lin" valueType="num">
                                      <p:cBhvr>
                                        <p:cTn id="56" dur="1000" fill="hold"/>
                                        <p:tgtEl>
                                          <p:spTgt spid="14"/>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1000"/>
                                        <p:tgtEl>
                                          <p:spTgt spid="15"/>
                                        </p:tgtEl>
                                      </p:cBhvr>
                                    </p:animEffect>
                                    <p:anim calcmode="lin" valueType="num">
                                      <p:cBhvr>
                                        <p:cTn id="60" dur="1000" fill="hold"/>
                                        <p:tgtEl>
                                          <p:spTgt spid="15"/>
                                        </p:tgtEl>
                                        <p:attrNameLst>
                                          <p:attrName>ppt_x</p:attrName>
                                        </p:attrNameLst>
                                      </p:cBhvr>
                                      <p:tavLst>
                                        <p:tav tm="0">
                                          <p:val>
                                            <p:strVal val="#ppt_x"/>
                                          </p:val>
                                        </p:tav>
                                        <p:tav tm="100000">
                                          <p:val>
                                            <p:strVal val="#ppt_x"/>
                                          </p:val>
                                        </p:tav>
                                      </p:tavLst>
                                    </p:anim>
                                    <p:anim calcmode="lin" valueType="num">
                                      <p:cBhvr>
                                        <p:cTn id="6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grpId="0" nodeType="click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1000"/>
                                        <p:tgtEl>
                                          <p:spTgt spid="23"/>
                                        </p:tgtEl>
                                      </p:cBhvr>
                                    </p:animEffect>
                                    <p:anim calcmode="lin" valueType="num">
                                      <p:cBhvr>
                                        <p:cTn id="67" dur="1000" fill="hold"/>
                                        <p:tgtEl>
                                          <p:spTgt spid="23"/>
                                        </p:tgtEl>
                                        <p:attrNameLst>
                                          <p:attrName>ppt_x</p:attrName>
                                        </p:attrNameLst>
                                      </p:cBhvr>
                                      <p:tavLst>
                                        <p:tav tm="0">
                                          <p:val>
                                            <p:strVal val="#ppt_x"/>
                                          </p:val>
                                        </p:tav>
                                        <p:tav tm="100000">
                                          <p:val>
                                            <p:strVal val="#ppt_x"/>
                                          </p:val>
                                        </p:tav>
                                      </p:tavLst>
                                    </p:anim>
                                    <p:anim calcmode="lin" valueType="num">
                                      <p:cBhvr>
                                        <p:cTn id="68" dur="1000" fill="hold"/>
                                        <p:tgtEl>
                                          <p:spTgt spid="2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1000"/>
                                        <p:tgtEl>
                                          <p:spTgt spid="27"/>
                                        </p:tgtEl>
                                      </p:cBhvr>
                                    </p:animEffect>
                                    <p:anim calcmode="lin" valueType="num">
                                      <p:cBhvr>
                                        <p:cTn id="72" dur="1000" fill="hold"/>
                                        <p:tgtEl>
                                          <p:spTgt spid="27"/>
                                        </p:tgtEl>
                                        <p:attrNameLst>
                                          <p:attrName>ppt_x</p:attrName>
                                        </p:attrNameLst>
                                      </p:cBhvr>
                                      <p:tavLst>
                                        <p:tav tm="0">
                                          <p:val>
                                            <p:strVal val="#ppt_x"/>
                                          </p:val>
                                        </p:tav>
                                        <p:tav tm="100000">
                                          <p:val>
                                            <p:strVal val="#ppt_x"/>
                                          </p:val>
                                        </p:tav>
                                      </p:tavLst>
                                    </p:anim>
                                    <p:anim calcmode="lin" valueType="num">
                                      <p:cBhvr>
                                        <p:cTn id="73" dur="1000" fill="hold"/>
                                        <p:tgtEl>
                                          <p:spTgt spid="27"/>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1000"/>
                                        <p:tgtEl>
                                          <p:spTgt spid="28"/>
                                        </p:tgtEl>
                                      </p:cBhvr>
                                    </p:animEffect>
                                    <p:anim calcmode="lin" valueType="num">
                                      <p:cBhvr>
                                        <p:cTn id="77" dur="1000" fill="hold"/>
                                        <p:tgtEl>
                                          <p:spTgt spid="28"/>
                                        </p:tgtEl>
                                        <p:attrNameLst>
                                          <p:attrName>ppt_x</p:attrName>
                                        </p:attrNameLst>
                                      </p:cBhvr>
                                      <p:tavLst>
                                        <p:tav tm="0">
                                          <p:val>
                                            <p:strVal val="#ppt_x"/>
                                          </p:val>
                                        </p:tav>
                                        <p:tav tm="100000">
                                          <p:val>
                                            <p:strVal val="#ppt_x"/>
                                          </p:val>
                                        </p:tav>
                                      </p:tavLst>
                                    </p:anim>
                                    <p:anim calcmode="lin" valueType="num">
                                      <p:cBhvr>
                                        <p:cTn id="78"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16"/>
                                        </p:tgtEl>
                                        <p:attrNameLst>
                                          <p:attrName>style.visibility</p:attrName>
                                        </p:attrNameLst>
                                      </p:cBhvr>
                                      <p:to>
                                        <p:strVal val="visible"/>
                                      </p:to>
                                    </p:set>
                                    <p:animEffect transition="in" filter="fade">
                                      <p:cBhvr>
                                        <p:cTn id="83" dur="1000"/>
                                        <p:tgtEl>
                                          <p:spTgt spid="16"/>
                                        </p:tgtEl>
                                      </p:cBhvr>
                                    </p:animEffect>
                                    <p:anim calcmode="lin" valueType="num">
                                      <p:cBhvr>
                                        <p:cTn id="84" dur="1000" fill="hold"/>
                                        <p:tgtEl>
                                          <p:spTgt spid="16"/>
                                        </p:tgtEl>
                                        <p:attrNameLst>
                                          <p:attrName>ppt_x</p:attrName>
                                        </p:attrNameLst>
                                      </p:cBhvr>
                                      <p:tavLst>
                                        <p:tav tm="0">
                                          <p:val>
                                            <p:strVal val="#ppt_x"/>
                                          </p:val>
                                        </p:tav>
                                        <p:tav tm="100000">
                                          <p:val>
                                            <p:strVal val="#ppt_x"/>
                                          </p:val>
                                        </p:tav>
                                      </p:tavLst>
                                    </p:anim>
                                    <p:anim calcmode="lin" valueType="num">
                                      <p:cBhvr>
                                        <p:cTn id="85" dur="1000" fill="hold"/>
                                        <p:tgtEl>
                                          <p:spTgt spid="16"/>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1000"/>
                                        <p:tgtEl>
                                          <p:spTgt spid="20"/>
                                        </p:tgtEl>
                                      </p:cBhvr>
                                    </p:animEffect>
                                    <p:anim calcmode="lin" valueType="num">
                                      <p:cBhvr>
                                        <p:cTn id="89" dur="1000" fill="hold"/>
                                        <p:tgtEl>
                                          <p:spTgt spid="20"/>
                                        </p:tgtEl>
                                        <p:attrNameLst>
                                          <p:attrName>ppt_x</p:attrName>
                                        </p:attrNameLst>
                                      </p:cBhvr>
                                      <p:tavLst>
                                        <p:tav tm="0">
                                          <p:val>
                                            <p:strVal val="#ppt_x"/>
                                          </p:val>
                                        </p:tav>
                                        <p:tav tm="100000">
                                          <p:val>
                                            <p:strVal val="#ppt_x"/>
                                          </p:val>
                                        </p:tav>
                                      </p:tavLst>
                                    </p:anim>
                                    <p:anim calcmode="lin" valueType="num">
                                      <p:cBhvr>
                                        <p:cTn id="90" dur="1000" fill="hold"/>
                                        <p:tgtEl>
                                          <p:spTgt spid="20"/>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21"/>
                                        </p:tgtEl>
                                        <p:attrNameLst>
                                          <p:attrName>style.visibility</p:attrName>
                                        </p:attrNameLst>
                                      </p:cBhvr>
                                      <p:to>
                                        <p:strVal val="visible"/>
                                      </p:to>
                                    </p:set>
                                    <p:animEffect transition="in" filter="fade">
                                      <p:cBhvr>
                                        <p:cTn id="93" dur="1000"/>
                                        <p:tgtEl>
                                          <p:spTgt spid="21"/>
                                        </p:tgtEl>
                                      </p:cBhvr>
                                    </p:animEffect>
                                    <p:anim calcmode="lin" valueType="num">
                                      <p:cBhvr>
                                        <p:cTn id="94" dur="1000" fill="hold"/>
                                        <p:tgtEl>
                                          <p:spTgt spid="21"/>
                                        </p:tgtEl>
                                        <p:attrNameLst>
                                          <p:attrName>ppt_x</p:attrName>
                                        </p:attrNameLst>
                                      </p:cBhvr>
                                      <p:tavLst>
                                        <p:tav tm="0">
                                          <p:val>
                                            <p:strVal val="#ppt_x"/>
                                          </p:val>
                                        </p:tav>
                                        <p:tav tm="100000">
                                          <p:val>
                                            <p:strVal val="#ppt_x"/>
                                          </p:val>
                                        </p:tav>
                                      </p:tavLst>
                                    </p:anim>
                                    <p:anim calcmode="lin" valueType="num">
                                      <p:cBhvr>
                                        <p:cTn id="95" dur="1000" fill="hold"/>
                                        <p:tgtEl>
                                          <p:spTgt spid="21"/>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fade">
                                      <p:cBhvr>
                                        <p:cTn id="98" dur="1000"/>
                                        <p:tgtEl>
                                          <p:spTgt spid="22"/>
                                        </p:tgtEl>
                                      </p:cBhvr>
                                    </p:animEffect>
                                    <p:anim calcmode="lin" valueType="num">
                                      <p:cBhvr>
                                        <p:cTn id="99" dur="1000" fill="hold"/>
                                        <p:tgtEl>
                                          <p:spTgt spid="22"/>
                                        </p:tgtEl>
                                        <p:attrNameLst>
                                          <p:attrName>ppt_x</p:attrName>
                                        </p:attrNameLst>
                                      </p:cBhvr>
                                      <p:tavLst>
                                        <p:tav tm="0">
                                          <p:val>
                                            <p:strVal val="#ppt_x"/>
                                          </p:val>
                                        </p:tav>
                                        <p:tav tm="100000">
                                          <p:val>
                                            <p:strVal val="#ppt_x"/>
                                          </p:val>
                                        </p:tav>
                                      </p:tavLst>
                                    </p:anim>
                                    <p:anim calcmode="lin" valueType="num">
                                      <p:cBhvr>
                                        <p:cTn id="10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15" grpId="0"/>
      <p:bldP spid="16" grpId="0" animBg="1"/>
      <p:bldP spid="20" grpId="0" animBg="1"/>
      <p:bldP spid="21" grpId="0"/>
      <p:bldP spid="22" grpId="0"/>
      <p:bldP spid="23" grpId="0" animBg="1"/>
      <p:bldP spid="27" grpId="0"/>
      <p:bldP spid="28" grpId="0"/>
      <p:bldP spid="29" grpId="0" animBg="1"/>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203121" cy="1015663"/>
          </a:xfrm>
          <a:prstGeom prst="rect">
            <a:avLst/>
          </a:prstGeom>
          <a:noFill/>
        </p:spPr>
        <p:txBody>
          <a:bodyPr wrap="none" rtlCol="0">
            <a:spAutoFit/>
          </a:bodyPr>
          <a:lstStyle/>
          <a:p>
            <a:r>
              <a:rPr lang="en-US" altLang="zh-CN" sz="6000" dirty="0" smtClean="0">
                <a:solidFill>
                  <a:srgbClr val="829662"/>
                </a:solidFill>
                <a:latin typeface="FZSJ-YANGGNH" panose="02010600010101010101" pitchFamily="2" charset="-122"/>
                <a:ea typeface="FZSJ-YANGGNH" panose="02010600010101010101" pitchFamily="2" charset="-122"/>
              </a:rPr>
              <a:t>02content</a:t>
            </a:r>
            <a:endParaRPr lang="zh-CN" altLang="en-US" sz="6000" dirty="0">
              <a:solidFill>
                <a:srgbClr val="829662"/>
              </a:solidFill>
              <a:latin typeface="FZSJ-YANGGNH" panose="02010600010101010101" pitchFamily="2" charset="-122"/>
              <a:ea typeface="FZSJ-YANGGNH" panose="02010600010101010101" pitchFamily="2" charset="-122"/>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67238251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967</TotalTime>
  <Words>3788</Words>
  <Application>Microsoft Office PowerPoint</Application>
  <PresentationFormat>화면 슬라이드 쇼(16:9)</PresentationFormat>
  <Paragraphs>341</Paragraphs>
  <Slides>30</Slides>
  <Notes>30</Notes>
  <HiddenSlides>0</HiddenSlides>
  <MMClips>1</MMClips>
  <ScaleCrop>false</ScaleCrop>
  <HeadingPairs>
    <vt:vector size="6" baseType="variant">
      <vt:variant>
        <vt:lpstr>사용한 글꼴</vt:lpstr>
      </vt:variant>
      <vt:variant>
        <vt:i4>15</vt:i4>
      </vt:variant>
      <vt:variant>
        <vt:lpstr>테마</vt:lpstr>
      </vt:variant>
      <vt:variant>
        <vt:i4>1</vt:i4>
      </vt:variant>
      <vt:variant>
        <vt:lpstr>슬라이드 제목</vt:lpstr>
      </vt:variant>
      <vt:variant>
        <vt:i4>30</vt:i4>
      </vt:variant>
    </vt:vector>
  </HeadingPairs>
  <TitlesOfParts>
    <vt:vector size="46" baseType="lpstr">
      <vt:lpstr>Bebas Neue</vt:lpstr>
      <vt:lpstr>FZSJ-YANGGNH</vt:lpstr>
      <vt:lpstr>Gill Sans</vt:lpstr>
      <vt:lpstr>Lato Light</vt:lpstr>
      <vt:lpstr>微软雅黑</vt:lpstr>
      <vt:lpstr>Open Sans</vt:lpstr>
      <vt:lpstr>宋体</vt:lpstr>
      <vt:lpstr>맑은 고딕</vt:lpstr>
      <vt:lpstr>方正兰亭黑_GBK</vt:lpstr>
      <vt:lpstr>华文黑体</vt:lpstr>
      <vt:lpstr>Arial</vt:lpstr>
      <vt:lpstr>Calibri</vt:lpstr>
      <vt:lpstr>Segoe UI</vt:lpstr>
      <vt:lpstr>Tahoma</vt:lpstr>
      <vt:lpstr>Wingdings</vt:lpstr>
      <vt:lpstr>Office 主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dd</dc:creator>
  <cp:lastModifiedBy>FX516</cp:lastModifiedBy>
  <cp:revision>1956</cp:revision>
  <dcterms:created xsi:type="dcterms:W3CDTF">2014-06-06T07:22:15Z</dcterms:created>
  <dcterms:modified xsi:type="dcterms:W3CDTF">2021-05-03T06:31:10Z</dcterms:modified>
</cp:coreProperties>
</file>